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3.xml" ContentType="application/vnd.openxmlformats-officedocument.theme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4.xml" ContentType="application/vnd.openxmlformats-officedocument.theme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1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2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3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4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charts/chart9.xml" ContentType="application/vnd.openxmlformats-officedocument.drawingml.chart+xml"/>
  <Override PartName="/ppt/theme/themeOverride1.xml" ContentType="application/vnd.openxmlformats-officedocument.themeOverride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charts/chart10.xml" ContentType="application/vnd.openxmlformats-officedocument.drawingml.chart+xml"/>
  <Override PartName="/ppt/theme/themeOverride2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75" r:id="rId2"/>
    <p:sldMasterId id="2147483810" r:id="rId3"/>
    <p:sldMasterId id="2147483818" r:id="rId4"/>
    <p:sldMasterId id="2147483831" r:id="rId5"/>
  </p:sldMasterIdLst>
  <p:notesMasterIdLst>
    <p:notesMasterId r:id="rId32"/>
  </p:notesMasterIdLst>
  <p:sldIdLst>
    <p:sldId id="1624" r:id="rId6"/>
    <p:sldId id="2429" r:id="rId7"/>
    <p:sldId id="4565" r:id="rId8"/>
    <p:sldId id="4642" r:id="rId9"/>
    <p:sldId id="2423" r:id="rId10"/>
    <p:sldId id="4518" r:id="rId11"/>
    <p:sldId id="4519" r:id="rId12"/>
    <p:sldId id="4472" r:id="rId13"/>
    <p:sldId id="4643" r:id="rId14"/>
    <p:sldId id="4639" r:id="rId15"/>
    <p:sldId id="4640" r:id="rId16"/>
    <p:sldId id="2365" r:id="rId17"/>
    <p:sldId id="4625" r:id="rId18"/>
    <p:sldId id="4644" r:id="rId19"/>
    <p:sldId id="4613" r:id="rId20"/>
    <p:sldId id="4615" r:id="rId21"/>
    <p:sldId id="4641" r:id="rId22"/>
    <p:sldId id="4666" r:id="rId23"/>
    <p:sldId id="4667" r:id="rId24"/>
    <p:sldId id="4482" r:id="rId25"/>
    <p:sldId id="4560" r:id="rId26"/>
    <p:sldId id="4634" r:id="rId27"/>
    <p:sldId id="4559" r:id="rId28"/>
    <p:sldId id="4635" r:id="rId29"/>
    <p:sldId id="4662" r:id="rId30"/>
    <p:sldId id="4663" r:id="rId31"/>
  </p:sldIdLst>
  <p:sldSz cx="12192000" cy="6858000"/>
  <p:notesSz cx="6858000" cy="9144000"/>
  <p:custDataLst>
    <p:tags r:id="rId33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230" userDrawn="1">
          <p15:clr>
            <a:srgbClr val="A4A3A4"/>
          </p15:clr>
        </p15:guide>
        <p15:guide id="2" pos="529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472C4"/>
    <a:srgbClr val="00FF00"/>
    <a:srgbClr val="3333CC"/>
    <a:srgbClr val="D31145"/>
    <a:srgbClr val="0000FF"/>
    <a:srgbClr val="FF9900"/>
    <a:srgbClr val="FF33CC"/>
    <a:srgbClr val="00B050"/>
    <a:srgbClr val="800000"/>
    <a:srgbClr val="EAEFF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C083E6E3-FA7D-4D7B-A595-EF9225AFEA82}" styleName="Světlý styl 1 – zvýraznění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838" autoAdjust="0"/>
    <p:restoredTop sz="96144" autoAdjust="0"/>
  </p:normalViewPr>
  <p:slideViewPr>
    <p:cSldViewPr snapToGrid="0">
      <p:cViewPr varScale="1">
        <p:scale>
          <a:sx n="104" d="100"/>
          <a:sy n="104" d="100"/>
        </p:scale>
        <p:origin x="186" y="102"/>
      </p:cViewPr>
      <p:guideLst>
        <p:guide orient="horz" pos="1230"/>
        <p:guide pos="529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13338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21" Type="http://schemas.openxmlformats.org/officeDocument/2006/relationships/slide" Target="slides/slide16.xml"/><Relationship Id="rId34" Type="http://schemas.openxmlformats.org/officeDocument/2006/relationships/presProps" Target="pres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notesMaster" Target="notesMasters/notesMaster1.xml"/><Relationship Id="rId37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viewProps" Target="viewProps.xml"/><Relationship Id="rId8" Type="http://schemas.openxmlformats.org/officeDocument/2006/relationships/slide" Target="slides/slide3.xml"/><Relationship Id="rId3" Type="http://schemas.openxmlformats.org/officeDocument/2006/relationships/slideMaster" Target="slideMasters/slideMaster3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9.xlsx"/><Relationship Id="rId1" Type="http://schemas.openxmlformats.org/officeDocument/2006/relationships/themeOverride" Target="../theme/themeOverride2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8.xlsx"/><Relationship Id="rId1" Type="http://schemas.openxmlformats.org/officeDocument/2006/relationships/themeOverride" Target="../theme/themeOverrid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377743959897629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102</c:f>
              <c:numCache>
                <c:formatCode>m/d/yyyy</c:formatCode>
                <c:ptCount val="101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  <c:pt idx="96">
                  <c:v>44566</c:v>
                </c:pt>
                <c:pt idx="97">
                  <c:v>44567</c:v>
                </c:pt>
                <c:pt idx="98">
                  <c:v>44568</c:v>
                </c:pt>
                <c:pt idx="99">
                  <c:v>44569</c:v>
                </c:pt>
                <c:pt idx="100">
                  <c:v>44570</c:v>
                </c:pt>
              </c:numCache>
            </c:numRef>
          </c:cat>
          <c:val>
            <c:numRef>
              <c:f>Sheet1!$B$2:$B$102</c:f>
              <c:numCache>
                <c:formatCode>0</c:formatCode>
                <c:ptCount val="101"/>
                <c:pt idx="0">
                  <c:v>828</c:v>
                </c:pt>
                <c:pt idx="1">
                  <c:v>552</c:v>
                </c:pt>
                <c:pt idx="2">
                  <c:v>318</c:v>
                </c:pt>
                <c:pt idx="3">
                  <c:v>807</c:v>
                </c:pt>
                <c:pt idx="4">
                  <c:v>1114</c:v>
                </c:pt>
                <c:pt idx="5">
                  <c:v>1048</c:v>
                </c:pt>
                <c:pt idx="6">
                  <c:v>992</c:v>
                </c:pt>
                <c:pt idx="7">
                  <c:v>1018</c:v>
                </c:pt>
                <c:pt idx="8">
                  <c:v>667</c:v>
                </c:pt>
                <c:pt idx="9">
                  <c:v>336</c:v>
                </c:pt>
                <c:pt idx="10">
                  <c:v>1344</c:v>
                </c:pt>
                <c:pt idx="11">
                  <c:v>1507</c:v>
                </c:pt>
                <c:pt idx="12">
                  <c:v>1499</c:v>
                </c:pt>
                <c:pt idx="13">
                  <c:v>1539</c:v>
                </c:pt>
                <c:pt idx="14">
                  <c:v>1782</c:v>
                </c:pt>
                <c:pt idx="15">
                  <c:v>1158</c:v>
                </c:pt>
                <c:pt idx="16">
                  <c:v>795</c:v>
                </c:pt>
                <c:pt idx="17">
                  <c:v>2536</c:v>
                </c:pt>
                <c:pt idx="18">
                  <c:v>3249</c:v>
                </c:pt>
                <c:pt idx="19">
                  <c:v>3279</c:v>
                </c:pt>
                <c:pt idx="20">
                  <c:v>3644</c:v>
                </c:pt>
                <c:pt idx="21">
                  <c:v>4239</c:v>
                </c:pt>
                <c:pt idx="22">
                  <c:v>2756</c:v>
                </c:pt>
                <c:pt idx="23">
                  <c:v>1838</c:v>
                </c:pt>
                <c:pt idx="24">
                  <c:v>4286</c:v>
                </c:pt>
                <c:pt idx="25">
                  <c:v>6289</c:v>
                </c:pt>
                <c:pt idx="26">
                  <c:v>5864</c:v>
                </c:pt>
                <c:pt idx="27">
                  <c:v>4356</c:v>
                </c:pt>
                <c:pt idx="28">
                  <c:v>5754</c:v>
                </c:pt>
                <c:pt idx="29">
                  <c:v>5058</c:v>
                </c:pt>
                <c:pt idx="30">
                  <c:v>2787</c:v>
                </c:pt>
                <c:pt idx="31">
                  <c:v>7610</c:v>
                </c:pt>
                <c:pt idx="32">
                  <c:v>9930</c:v>
                </c:pt>
                <c:pt idx="33">
                  <c:v>9479</c:v>
                </c:pt>
                <c:pt idx="34">
                  <c:v>8474</c:v>
                </c:pt>
                <c:pt idx="35">
                  <c:v>9249</c:v>
                </c:pt>
                <c:pt idx="36">
                  <c:v>5741</c:v>
                </c:pt>
                <c:pt idx="37">
                  <c:v>3010</c:v>
                </c:pt>
                <c:pt idx="38">
                  <c:v>9285</c:v>
                </c:pt>
                <c:pt idx="39">
                  <c:v>14571</c:v>
                </c:pt>
                <c:pt idx="40">
                  <c:v>13547</c:v>
                </c:pt>
                <c:pt idx="41">
                  <c:v>10439</c:v>
                </c:pt>
                <c:pt idx="42">
                  <c:v>14246</c:v>
                </c:pt>
                <c:pt idx="43">
                  <c:v>9179</c:v>
                </c:pt>
                <c:pt idx="44">
                  <c:v>5679</c:v>
                </c:pt>
                <c:pt idx="45">
                  <c:v>11548</c:v>
                </c:pt>
                <c:pt idx="46">
                  <c:v>22522</c:v>
                </c:pt>
                <c:pt idx="47">
                  <c:v>14158</c:v>
                </c:pt>
                <c:pt idx="48">
                  <c:v>13444</c:v>
                </c:pt>
                <c:pt idx="49">
                  <c:v>22965</c:v>
                </c:pt>
                <c:pt idx="50">
                  <c:v>14411</c:v>
                </c:pt>
                <c:pt idx="51">
                  <c:v>8261</c:v>
                </c:pt>
                <c:pt idx="52">
                  <c:v>14501</c:v>
                </c:pt>
                <c:pt idx="53">
                  <c:v>25891</c:v>
                </c:pt>
                <c:pt idx="54">
                  <c:v>18032</c:v>
                </c:pt>
                <c:pt idx="55">
                  <c:v>27925</c:v>
                </c:pt>
                <c:pt idx="56">
                  <c:v>20363</c:v>
                </c:pt>
                <c:pt idx="57">
                  <c:v>12524</c:v>
                </c:pt>
                <c:pt idx="58">
                  <c:v>9301</c:v>
                </c:pt>
                <c:pt idx="59">
                  <c:v>17604</c:v>
                </c:pt>
                <c:pt idx="60">
                  <c:v>21995</c:v>
                </c:pt>
                <c:pt idx="61">
                  <c:v>21138</c:v>
                </c:pt>
                <c:pt idx="62">
                  <c:v>18597</c:v>
                </c:pt>
                <c:pt idx="63">
                  <c:v>17667</c:v>
                </c:pt>
                <c:pt idx="64">
                  <c:v>10977</c:v>
                </c:pt>
                <c:pt idx="65">
                  <c:v>6330</c:v>
                </c:pt>
                <c:pt idx="66">
                  <c:v>15544</c:v>
                </c:pt>
                <c:pt idx="67">
                  <c:v>194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75B-44FD-BABB-7344EE2BF81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02</c:f>
              <c:numCache>
                <c:formatCode>m/d/yyyy</c:formatCode>
                <c:ptCount val="101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  <c:pt idx="96">
                  <c:v>44566</c:v>
                </c:pt>
                <c:pt idx="97">
                  <c:v>44567</c:v>
                </c:pt>
                <c:pt idx="98">
                  <c:v>44568</c:v>
                </c:pt>
                <c:pt idx="99">
                  <c:v>44569</c:v>
                </c:pt>
                <c:pt idx="100">
                  <c:v>44570</c:v>
                </c:pt>
              </c:numCache>
            </c:numRef>
          </c:cat>
          <c:val>
            <c:numRef>
              <c:f>Sheet1!$C$2:$C$102</c:f>
              <c:numCache>
                <c:formatCode>General</c:formatCode>
                <c:ptCount val="10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75B-44FD-BABB-7344EE2BF81C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0,75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02</c:f>
              <c:numCache>
                <c:formatCode>m/d/yyyy</c:formatCode>
                <c:ptCount val="101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  <c:pt idx="96">
                  <c:v>44566</c:v>
                </c:pt>
                <c:pt idx="97">
                  <c:v>44567</c:v>
                </c:pt>
                <c:pt idx="98">
                  <c:v>44568</c:v>
                </c:pt>
                <c:pt idx="99">
                  <c:v>44569</c:v>
                </c:pt>
                <c:pt idx="100">
                  <c:v>44570</c:v>
                </c:pt>
              </c:numCache>
            </c:numRef>
          </c:cat>
          <c:val>
            <c:numRef>
              <c:f>Sheet1!$D$2:$D$102</c:f>
              <c:numCache>
                <c:formatCode>General</c:formatCode>
                <c:ptCount val="101"/>
                <c:pt idx="63" formatCode="#,##0">
                  <c:v>19826</c:v>
                </c:pt>
                <c:pt idx="64" formatCode="#,##0">
                  <c:v>19267</c:v>
                </c:pt>
                <c:pt idx="65" formatCode="#,##0">
                  <c:v>18859</c:v>
                </c:pt>
                <c:pt idx="66" formatCode="#,##0">
                  <c:v>18617</c:v>
                </c:pt>
                <c:pt idx="67" formatCode="#,##0">
                  <c:v>18360</c:v>
                </c:pt>
                <c:pt idx="68" formatCode="#,##0">
                  <c:v>18102</c:v>
                </c:pt>
                <c:pt idx="69" formatCode="#,##0">
                  <c:v>17757</c:v>
                </c:pt>
                <c:pt idx="70" formatCode="#,##0">
                  <c:v>17329</c:v>
                </c:pt>
                <c:pt idx="71" formatCode="#,##0">
                  <c:v>16991</c:v>
                </c:pt>
                <c:pt idx="72" formatCode="#,##0">
                  <c:v>16724</c:v>
                </c:pt>
                <c:pt idx="73" formatCode="#,##0">
                  <c:v>16473</c:v>
                </c:pt>
                <c:pt idx="74" formatCode="#,##0">
                  <c:v>16181</c:v>
                </c:pt>
                <c:pt idx="75" formatCode="#,##0">
                  <c:v>15873</c:v>
                </c:pt>
                <c:pt idx="76" formatCode="#,##0">
                  <c:v>15562</c:v>
                </c:pt>
                <c:pt idx="77" formatCode="#,##0">
                  <c:v>15273</c:v>
                </c:pt>
                <c:pt idx="78" formatCode="#,##0">
                  <c:v>15014</c:v>
                </c:pt>
                <c:pt idx="79" formatCode="#,##0">
                  <c:v>14763</c:v>
                </c:pt>
                <c:pt idx="80" formatCode="#,##0">
                  <c:v>14501</c:v>
                </c:pt>
                <c:pt idx="81" formatCode="#,##0">
                  <c:v>14231</c:v>
                </c:pt>
                <c:pt idx="82" formatCode="#,##0">
                  <c:v>13968</c:v>
                </c:pt>
                <c:pt idx="83" formatCode="#,##0">
                  <c:v>13719</c:v>
                </c:pt>
                <c:pt idx="84" formatCode="#,##0">
                  <c:v>13480</c:v>
                </c:pt>
                <c:pt idx="85" formatCode="#,##0">
                  <c:v>13245</c:v>
                </c:pt>
                <c:pt idx="86" formatCode="#,##0">
                  <c:v>13010</c:v>
                </c:pt>
                <c:pt idx="87" formatCode="#,##0">
                  <c:v>12775</c:v>
                </c:pt>
                <c:pt idx="88" formatCode="#,##0">
                  <c:v>12546</c:v>
                </c:pt>
                <c:pt idx="89" formatCode="#,##0">
                  <c:v>12324</c:v>
                </c:pt>
                <c:pt idx="90" formatCode="#,##0">
                  <c:v>12108</c:v>
                </c:pt>
                <c:pt idx="91" formatCode="#,##0">
                  <c:v>11895</c:v>
                </c:pt>
                <c:pt idx="92" formatCode="#,##0">
                  <c:v>11685</c:v>
                </c:pt>
                <c:pt idx="93" formatCode="#,##0">
                  <c:v>11478</c:v>
                </c:pt>
                <c:pt idx="94" formatCode="#,##0">
                  <c:v>11276</c:v>
                </c:pt>
                <c:pt idx="95" formatCode="#,##0">
                  <c:v>11077</c:v>
                </c:pt>
                <c:pt idx="96" formatCode="#,##0">
                  <c:v>10884</c:v>
                </c:pt>
                <c:pt idx="97" formatCode="#,##0">
                  <c:v>10694</c:v>
                </c:pt>
                <c:pt idx="98" formatCode="#,##0">
                  <c:v>10506</c:v>
                </c:pt>
                <c:pt idx="99" formatCode="#,##0">
                  <c:v>10322</c:v>
                </c:pt>
                <c:pt idx="100" formatCode="#,##0">
                  <c:v>1014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75B-44FD-BABB-7344EE2BF81C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0,85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02</c:f>
              <c:numCache>
                <c:formatCode>m/d/yyyy</c:formatCode>
                <c:ptCount val="101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  <c:pt idx="96">
                  <c:v>44566</c:v>
                </c:pt>
                <c:pt idx="97">
                  <c:v>44567</c:v>
                </c:pt>
                <c:pt idx="98">
                  <c:v>44568</c:v>
                </c:pt>
                <c:pt idx="99">
                  <c:v>44569</c:v>
                </c:pt>
                <c:pt idx="100">
                  <c:v>44570</c:v>
                </c:pt>
              </c:numCache>
            </c:numRef>
          </c:cat>
          <c:val>
            <c:numRef>
              <c:f>Sheet1!$E$2:$E$102</c:f>
              <c:numCache>
                <c:formatCode>General</c:formatCode>
                <c:ptCount val="101"/>
                <c:pt idx="63" formatCode="#,##0">
                  <c:v>20269</c:v>
                </c:pt>
                <c:pt idx="64" formatCode="#,##0">
                  <c:v>19955</c:v>
                </c:pt>
                <c:pt idx="65" formatCode="#,##0">
                  <c:v>19685</c:v>
                </c:pt>
                <c:pt idx="66" formatCode="#,##0">
                  <c:v>19522</c:v>
                </c:pt>
                <c:pt idx="67" formatCode="#,##0">
                  <c:v>19409</c:v>
                </c:pt>
                <c:pt idx="68" formatCode="#,##0">
                  <c:v>19331</c:v>
                </c:pt>
                <c:pt idx="69" formatCode="#,##0">
                  <c:v>19180</c:v>
                </c:pt>
                <c:pt idx="70" formatCode="#,##0">
                  <c:v>18953</c:v>
                </c:pt>
                <c:pt idx="71" formatCode="#,##0">
                  <c:v>18745</c:v>
                </c:pt>
                <c:pt idx="72" formatCode="#,##0">
                  <c:v>18596</c:v>
                </c:pt>
                <c:pt idx="73" formatCode="#,##0">
                  <c:v>18475</c:v>
                </c:pt>
                <c:pt idx="74" formatCode="#,##0">
                  <c:v>18339</c:v>
                </c:pt>
                <c:pt idx="75" formatCode="#,##0">
                  <c:v>18182</c:v>
                </c:pt>
                <c:pt idx="76" formatCode="#,##0">
                  <c:v>18007</c:v>
                </c:pt>
                <c:pt idx="77" formatCode="#,##0">
                  <c:v>17839</c:v>
                </c:pt>
                <c:pt idx="78" formatCode="#,##0">
                  <c:v>17692</c:v>
                </c:pt>
                <c:pt idx="79" formatCode="#,##0">
                  <c:v>17558</c:v>
                </c:pt>
                <c:pt idx="80" formatCode="#,##0">
                  <c:v>17419</c:v>
                </c:pt>
                <c:pt idx="81" formatCode="#,##0">
                  <c:v>17268</c:v>
                </c:pt>
                <c:pt idx="82" formatCode="#,##0">
                  <c:v>17114</c:v>
                </c:pt>
                <c:pt idx="83" formatCode="#,##0">
                  <c:v>16967</c:v>
                </c:pt>
                <c:pt idx="84" formatCode="#,##0">
                  <c:v>16827</c:v>
                </c:pt>
                <c:pt idx="85" formatCode="#,##0">
                  <c:v>16691</c:v>
                </c:pt>
                <c:pt idx="86" formatCode="#,##0">
                  <c:v>16554</c:v>
                </c:pt>
                <c:pt idx="87" formatCode="#,##0">
                  <c:v>16413</c:v>
                </c:pt>
                <c:pt idx="88" formatCode="#,##0">
                  <c:v>16272</c:v>
                </c:pt>
                <c:pt idx="89" formatCode="#,##0">
                  <c:v>16136</c:v>
                </c:pt>
                <c:pt idx="90" formatCode="#,##0">
                  <c:v>16003</c:v>
                </c:pt>
                <c:pt idx="91" formatCode="#,##0">
                  <c:v>15871</c:v>
                </c:pt>
                <c:pt idx="92" formatCode="#,##0">
                  <c:v>15739</c:v>
                </c:pt>
                <c:pt idx="93" formatCode="#,##0">
                  <c:v>15608</c:v>
                </c:pt>
                <c:pt idx="94" formatCode="#,##0">
                  <c:v>15477</c:v>
                </c:pt>
                <c:pt idx="95" formatCode="#,##0">
                  <c:v>15348</c:v>
                </c:pt>
                <c:pt idx="96" formatCode="#,##0">
                  <c:v>15222</c:v>
                </c:pt>
                <c:pt idx="97" formatCode="#,##0">
                  <c:v>15096</c:v>
                </c:pt>
                <c:pt idx="98" formatCode="#,##0">
                  <c:v>14971</c:v>
                </c:pt>
                <c:pt idx="99" formatCode="#,##0">
                  <c:v>14847</c:v>
                </c:pt>
                <c:pt idx="100" formatCode="#,##0">
                  <c:v>1472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75B-44FD-BABB-7344EE2BF81C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0,95</c:v>
                </c:pt>
              </c:strCache>
            </c:strRef>
          </c:tx>
          <c:spPr>
            <a:ln w="28575" cap="rnd">
              <a:solidFill>
                <a:schemeClr val="accent4"/>
              </a:solidFill>
              <a:prstDash val="dash"/>
              <a:round/>
            </a:ln>
            <a:effectLst/>
          </c:spPr>
          <c:marker>
            <c:symbol val="none"/>
          </c:marker>
          <c:cat>
            <c:numRef>
              <c:f>Sheet1!$A$2:$A$102</c:f>
              <c:numCache>
                <c:formatCode>m/d/yyyy</c:formatCode>
                <c:ptCount val="101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  <c:pt idx="96">
                  <c:v>44566</c:v>
                </c:pt>
                <c:pt idx="97">
                  <c:v>44567</c:v>
                </c:pt>
                <c:pt idx="98">
                  <c:v>44568</c:v>
                </c:pt>
                <c:pt idx="99">
                  <c:v>44569</c:v>
                </c:pt>
                <c:pt idx="100">
                  <c:v>44570</c:v>
                </c:pt>
              </c:numCache>
            </c:numRef>
          </c:cat>
          <c:val>
            <c:numRef>
              <c:f>Sheet1!$F$2:$F$102</c:f>
              <c:numCache>
                <c:formatCode>General</c:formatCode>
                <c:ptCount val="101"/>
                <c:pt idx="63" formatCode="#,##0">
                  <c:v>21156</c:v>
                </c:pt>
                <c:pt idx="64" formatCode="#,##0">
                  <c:v>21332</c:v>
                </c:pt>
                <c:pt idx="65" formatCode="#,##0">
                  <c:v>21335</c:v>
                </c:pt>
                <c:pt idx="66" formatCode="#,##0">
                  <c:v>21329</c:v>
                </c:pt>
                <c:pt idx="67" formatCode="#,##0">
                  <c:v>21538</c:v>
                </c:pt>
                <c:pt idx="68" formatCode="#,##0">
                  <c:v>21872</c:v>
                </c:pt>
                <c:pt idx="69" formatCode="#,##0">
                  <c:v>22172</c:v>
                </c:pt>
                <c:pt idx="70" formatCode="#,##0">
                  <c:v>22415</c:v>
                </c:pt>
                <c:pt idx="71" formatCode="#,##0">
                  <c:v>22523</c:v>
                </c:pt>
                <c:pt idx="72" formatCode="#,##0">
                  <c:v>22669</c:v>
                </c:pt>
                <c:pt idx="73" formatCode="#,##0">
                  <c:v>22892</c:v>
                </c:pt>
                <c:pt idx="74" formatCode="#,##0">
                  <c:v>23178</c:v>
                </c:pt>
                <c:pt idx="75" formatCode="#,##0">
                  <c:v>23437</c:v>
                </c:pt>
                <c:pt idx="76" formatCode="#,##0">
                  <c:v>23648</c:v>
                </c:pt>
                <c:pt idx="77" formatCode="#,##0">
                  <c:v>23837</c:v>
                </c:pt>
                <c:pt idx="78" formatCode="#,##0">
                  <c:v>24037</c:v>
                </c:pt>
                <c:pt idx="79" formatCode="#,##0">
                  <c:v>24277</c:v>
                </c:pt>
                <c:pt idx="80" formatCode="#,##0">
                  <c:v>24534</c:v>
                </c:pt>
                <c:pt idx="81" formatCode="#,##0">
                  <c:v>24783</c:v>
                </c:pt>
                <c:pt idx="82" formatCode="#,##0">
                  <c:v>25008</c:v>
                </c:pt>
                <c:pt idx="83" formatCode="#,##0">
                  <c:v>25228</c:v>
                </c:pt>
                <c:pt idx="84" formatCode="#,##0">
                  <c:v>25461</c:v>
                </c:pt>
                <c:pt idx="85" formatCode="#,##0">
                  <c:v>25709</c:v>
                </c:pt>
                <c:pt idx="86" formatCode="#,##0">
                  <c:v>25964</c:v>
                </c:pt>
                <c:pt idx="87" formatCode="#,##0">
                  <c:v>26213</c:v>
                </c:pt>
                <c:pt idx="88" formatCode="#,##0">
                  <c:v>26456</c:v>
                </c:pt>
                <c:pt idx="89" formatCode="#,##0">
                  <c:v>26700</c:v>
                </c:pt>
                <c:pt idx="90" formatCode="#,##0">
                  <c:v>26951</c:v>
                </c:pt>
                <c:pt idx="91" formatCode="#,##0">
                  <c:v>27209</c:v>
                </c:pt>
                <c:pt idx="92" formatCode="#,##0">
                  <c:v>27471</c:v>
                </c:pt>
                <c:pt idx="93" formatCode="#,##0">
                  <c:v>27731</c:v>
                </c:pt>
                <c:pt idx="94" formatCode="#,##0">
                  <c:v>27991</c:v>
                </c:pt>
                <c:pt idx="95" formatCode="#,##0">
                  <c:v>28252</c:v>
                </c:pt>
                <c:pt idx="96" formatCode="#,##0">
                  <c:v>28518</c:v>
                </c:pt>
                <c:pt idx="97" formatCode="#,##0">
                  <c:v>28789</c:v>
                </c:pt>
                <c:pt idx="98" formatCode="#,##0">
                  <c:v>29061</c:v>
                </c:pt>
                <c:pt idx="99" formatCode="#,##0">
                  <c:v>29335</c:v>
                </c:pt>
                <c:pt idx="100" formatCode="#,##0">
                  <c:v>2961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481-45EE-AB4F-35B88E8300A8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dash"/>
              <a:round/>
            </a:ln>
            <a:effectLst/>
          </c:spPr>
          <c:marker>
            <c:symbol val="none"/>
          </c:marker>
          <c:cat>
            <c:numRef>
              <c:f>Sheet1!$A$2:$A$102</c:f>
              <c:numCache>
                <c:formatCode>m/d/yyyy</c:formatCode>
                <c:ptCount val="101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  <c:pt idx="96">
                  <c:v>44566</c:v>
                </c:pt>
                <c:pt idx="97">
                  <c:v>44567</c:v>
                </c:pt>
                <c:pt idx="98">
                  <c:v>44568</c:v>
                </c:pt>
                <c:pt idx="99">
                  <c:v>44569</c:v>
                </c:pt>
                <c:pt idx="100">
                  <c:v>44570</c:v>
                </c:pt>
              </c:numCache>
            </c:numRef>
          </c:cat>
          <c:val>
            <c:numRef>
              <c:f>Sheet1!$G$2:$G$102</c:f>
              <c:numCache>
                <c:formatCode>General</c:formatCode>
                <c:ptCount val="101"/>
                <c:pt idx="63" formatCode="#,##0">
                  <c:v>21599</c:v>
                </c:pt>
                <c:pt idx="64" formatCode="#,##0">
                  <c:v>22021</c:v>
                </c:pt>
                <c:pt idx="65" formatCode="#,##0">
                  <c:v>22161</c:v>
                </c:pt>
                <c:pt idx="66" formatCode="#,##0">
                  <c:v>22233</c:v>
                </c:pt>
                <c:pt idx="67" formatCode="#,##0">
                  <c:v>22619</c:v>
                </c:pt>
                <c:pt idx="68" formatCode="#,##0">
                  <c:v>23184</c:v>
                </c:pt>
                <c:pt idx="69" formatCode="#,##0">
                  <c:v>23741</c:v>
                </c:pt>
                <c:pt idx="70" formatCode="#,##0">
                  <c:v>24253</c:v>
                </c:pt>
                <c:pt idx="71" formatCode="#,##0">
                  <c:v>24547</c:v>
                </c:pt>
                <c:pt idx="72" formatCode="#,##0">
                  <c:v>24875</c:v>
                </c:pt>
                <c:pt idx="73" formatCode="#,##0">
                  <c:v>25314</c:v>
                </c:pt>
                <c:pt idx="74" formatCode="#,##0">
                  <c:v>25872</c:v>
                </c:pt>
                <c:pt idx="75" formatCode="#,##0">
                  <c:v>26404</c:v>
                </c:pt>
                <c:pt idx="76" formatCode="#,##0">
                  <c:v>26869</c:v>
                </c:pt>
                <c:pt idx="77" formatCode="#,##0">
                  <c:v>27303</c:v>
                </c:pt>
                <c:pt idx="78" formatCode="#,##0">
                  <c:v>27748</c:v>
                </c:pt>
                <c:pt idx="79" formatCode="#,##0">
                  <c:v>28258</c:v>
                </c:pt>
                <c:pt idx="80" formatCode="#,##0">
                  <c:v>28807</c:v>
                </c:pt>
                <c:pt idx="81" formatCode="#,##0">
                  <c:v>29354</c:v>
                </c:pt>
                <c:pt idx="82" formatCode="#,##0">
                  <c:v>29870</c:v>
                </c:pt>
                <c:pt idx="83" formatCode="#,##0">
                  <c:v>30380</c:v>
                </c:pt>
                <c:pt idx="84" formatCode="#,##0">
                  <c:v>30913</c:v>
                </c:pt>
                <c:pt idx="85" formatCode="#,##0">
                  <c:v>31477</c:v>
                </c:pt>
                <c:pt idx="86" formatCode="#,##0">
                  <c:v>32060</c:v>
                </c:pt>
                <c:pt idx="87" formatCode="#,##0">
                  <c:v>32644</c:v>
                </c:pt>
                <c:pt idx="88" formatCode="#,##0">
                  <c:v>33223</c:v>
                </c:pt>
                <c:pt idx="89" formatCode="#,##0">
                  <c:v>33807</c:v>
                </c:pt>
                <c:pt idx="90" formatCode="#,##0">
                  <c:v>34409</c:v>
                </c:pt>
                <c:pt idx="91" formatCode="#,##0">
                  <c:v>35032</c:v>
                </c:pt>
                <c:pt idx="92" formatCode="#,##0">
                  <c:v>35667</c:v>
                </c:pt>
                <c:pt idx="93" formatCode="#,##0">
                  <c:v>36308</c:v>
                </c:pt>
                <c:pt idx="94" formatCode="#,##0">
                  <c:v>36954</c:v>
                </c:pt>
                <c:pt idx="95" formatCode="#,##0">
                  <c:v>37610</c:v>
                </c:pt>
                <c:pt idx="96" formatCode="#,##0">
                  <c:v>38282</c:v>
                </c:pt>
                <c:pt idx="97" formatCode="#,##0">
                  <c:v>38970</c:v>
                </c:pt>
                <c:pt idx="98" formatCode="#,##0">
                  <c:v>39670</c:v>
                </c:pt>
                <c:pt idx="99" formatCode="#,##0">
                  <c:v>40380</c:v>
                </c:pt>
                <c:pt idx="100" formatCode="#,##0">
                  <c:v>410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4481-45EE-AB4F-35B88E8300A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300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50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45</c:v>
                </c:pt>
                <c:pt idx="1">
                  <c:v>44</c:v>
                </c:pt>
                <c:pt idx="2">
                  <c:v>52</c:v>
                </c:pt>
                <c:pt idx="3">
                  <c:v>58</c:v>
                </c:pt>
                <c:pt idx="4">
                  <c:v>72</c:v>
                </c:pt>
                <c:pt idx="5">
                  <c:v>86</c:v>
                </c:pt>
                <c:pt idx="6">
                  <c:v>75</c:v>
                </c:pt>
                <c:pt idx="7">
                  <c:v>78</c:v>
                </c:pt>
                <c:pt idx="8">
                  <c:v>77</c:v>
                </c:pt>
                <c:pt idx="9">
                  <c:v>77</c:v>
                </c:pt>
                <c:pt idx="10">
                  <c:v>99</c:v>
                </c:pt>
                <c:pt idx="11">
                  <c:v>113</c:v>
                </c:pt>
                <c:pt idx="12">
                  <c:v>114</c:v>
                </c:pt>
                <c:pt idx="13">
                  <c:v>116</c:v>
                </c:pt>
                <c:pt idx="14">
                  <c:v>115</c:v>
                </c:pt>
                <c:pt idx="15">
                  <c:v>112</c:v>
                </c:pt>
                <c:pt idx="16">
                  <c:v>116</c:v>
                </c:pt>
                <c:pt idx="17">
                  <c:v>133</c:v>
                </c:pt>
                <c:pt idx="18">
                  <c:v>146</c:v>
                </c:pt>
                <c:pt idx="19">
                  <c:v>138</c:v>
                </c:pt>
                <c:pt idx="20">
                  <c:v>142</c:v>
                </c:pt>
                <c:pt idx="21">
                  <c:v>153</c:v>
                </c:pt>
                <c:pt idx="22">
                  <c:v>151</c:v>
                </c:pt>
                <c:pt idx="23">
                  <c:v>163</c:v>
                </c:pt>
                <c:pt idx="24">
                  <c:v>171</c:v>
                </c:pt>
                <c:pt idx="25">
                  <c:v>193</c:v>
                </c:pt>
                <c:pt idx="26">
                  <c:v>215</c:v>
                </c:pt>
                <c:pt idx="27">
                  <c:v>209</c:v>
                </c:pt>
                <c:pt idx="28">
                  <c:v>233</c:v>
                </c:pt>
                <c:pt idx="29">
                  <c:v>238</c:v>
                </c:pt>
                <c:pt idx="30">
                  <c:v>267</c:v>
                </c:pt>
                <c:pt idx="31">
                  <c:v>311</c:v>
                </c:pt>
                <c:pt idx="32">
                  <c:v>318</c:v>
                </c:pt>
                <c:pt idx="33">
                  <c:v>345</c:v>
                </c:pt>
                <c:pt idx="34">
                  <c:v>345</c:v>
                </c:pt>
                <c:pt idx="35">
                  <c:v>384</c:v>
                </c:pt>
                <c:pt idx="36">
                  <c:v>389</c:v>
                </c:pt>
                <c:pt idx="37">
                  <c:v>424</c:v>
                </c:pt>
                <c:pt idx="38">
                  <c:v>471</c:v>
                </c:pt>
                <c:pt idx="39">
                  <c:v>487</c:v>
                </c:pt>
                <c:pt idx="40">
                  <c:v>511</c:v>
                </c:pt>
                <c:pt idx="41">
                  <c:v>519</c:v>
                </c:pt>
                <c:pt idx="42">
                  <c:v>527</c:v>
                </c:pt>
                <c:pt idx="43">
                  <c:v>561</c:v>
                </c:pt>
                <c:pt idx="44">
                  <c:v>601</c:v>
                </c:pt>
                <c:pt idx="45">
                  <c:v>644</c:v>
                </c:pt>
                <c:pt idx="46">
                  <c:v>651</c:v>
                </c:pt>
                <c:pt idx="47">
                  <c:v>691</c:v>
                </c:pt>
                <c:pt idx="48">
                  <c:v>716</c:v>
                </c:pt>
                <c:pt idx="49">
                  <c:v>744</c:v>
                </c:pt>
                <c:pt idx="50">
                  <c:v>752</c:v>
                </c:pt>
                <c:pt idx="51">
                  <c:v>781</c:v>
                </c:pt>
                <c:pt idx="52">
                  <c:v>817</c:v>
                </c:pt>
                <c:pt idx="53">
                  <c:v>859</c:v>
                </c:pt>
                <c:pt idx="54">
                  <c:v>864</c:v>
                </c:pt>
                <c:pt idx="55">
                  <c:v>890</c:v>
                </c:pt>
                <c:pt idx="56">
                  <c:v>910</c:v>
                </c:pt>
                <c:pt idx="57">
                  <c:v>928</c:v>
                </c:pt>
                <c:pt idx="58">
                  <c:v>941</c:v>
                </c:pt>
                <c:pt idx="59">
                  <c:v>986</c:v>
                </c:pt>
                <c:pt idx="60">
                  <c:v>989</c:v>
                </c:pt>
                <c:pt idx="61">
                  <c:v>980</c:v>
                </c:pt>
                <c:pt idx="62">
                  <c:v>971</c:v>
                </c:pt>
                <c:pt idx="63">
                  <c:v>966</c:v>
                </c:pt>
                <c:pt idx="64">
                  <c:v>937</c:v>
                </c:pt>
                <c:pt idx="65">
                  <c:v>964</c:v>
                </c:pt>
                <c:pt idx="66">
                  <c:v>986</c:v>
                </c:pt>
                <c:pt idx="67">
                  <c:v>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943-4239-8356-43AE741C0C2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943-4239-8356-43AE741C0C2C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538.34653645065316</c:v>
                </c:pt>
                <c:pt idx="43">
                  <c:v>566.3775340375945</c:v>
                </c:pt>
                <c:pt idx="44">
                  <c:v>593.53728122139341</c:v>
                </c:pt>
                <c:pt idx="45">
                  <c:v>619.29628634537175</c:v>
                </c:pt>
                <c:pt idx="46">
                  <c:v>644.79770503473469</c:v>
                </c:pt>
                <c:pt idx="47">
                  <c:v>670.44258291493816</c:v>
                </c:pt>
                <c:pt idx="48">
                  <c:v>695.53842156704866</c:v>
                </c:pt>
                <c:pt idx="49">
                  <c:v>719.85190196455505</c:v>
                </c:pt>
                <c:pt idx="50">
                  <c:v>742.00043602806977</c:v>
                </c:pt>
                <c:pt idx="51">
                  <c:v>763.64898141441938</c:v>
                </c:pt>
                <c:pt idx="52">
                  <c:v>784.57780034781422</c:v>
                </c:pt>
                <c:pt idx="53">
                  <c:v>805.25814425479871</c:v>
                </c:pt>
                <c:pt idx="54">
                  <c:v>824.18597696438064</c:v>
                </c:pt>
                <c:pt idx="55">
                  <c:v>842.13561239532044</c:v>
                </c:pt>
                <c:pt idx="56">
                  <c:v>859.80376950117602</c:v>
                </c:pt>
                <c:pt idx="57">
                  <c:v>876.3469461229945</c:v>
                </c:pt>
                <c:pt idx="58">
                  <c:v>891.94882551208582</c:v>
                </c:pt>
                <c:pt idx="59">
                  <c:v>906.52036102609327</c:v>
                </c:pt>
                <c:pt idx="60">
                  <c:v>920.58325715208446</c:v>
                </c:pt>
                <c:pt idx="61">
                  <c:v>933.55536588028576</c:v>
                </c:pt>
                <c:pt idx="62">
                  <c:v>945.42822341929059</c:v>
                </c:pt>
                <c:pt idx="63">
                  <c:v>956.48680799755061</c:v>
                </c:pt>
                <c:pt idx="64">
                  <c:v>966.9125289324586</c:v>
                </c:pt>
                <c:pt idx="65">
                  <c:v>976.23302503778336</c:v>
                </c:pt>
                <c:pt idx="66">
                  <c:v>984.51664838935426</c:v>
                </c:pt>
                <c:pt idx="67">
                  <c:v>991.93928923474482</c:v>
                </c:pt>
                <c:pt idx="68">
                  <c:v>998.55810901371024</c:v>
                </c:pt>
                <c:pt idx="69">
                  <c:v>1004.3210934838614</c:v>
                </c:pt>
                <c:pt idx="70">
                  <c:v>1009.1809084903009</c:v>
                </c:pt>
                <c:pt idx="71">
                  <c:v>1013.2878832646476</c:v>
                </c:pt>
                <c:pt idx="72">
                  <c:v>1016.4748329969788</c:v>
                </c:pt>
                <c:pt idx="73">
                  <c:v>1018.758024779135</c:v>
                </c:pt>
                <c:pt idx="74">
                  <c:v>1020.0411942973701</c:v>
                </c:pt>
                <c:pt idx="75">
                  <c:v>1020.4768913088465</c:v>
                </c:pt>
                <c:pt idx="76">
                  <c:v>1020.0732762357502</c:v>
                </c:pt>
                <c:pt idx="77">
                  <c:v>1018.8275369639043</c:v>
                </c:pt>
                <c:pt idx="78">
                  <c:v>1016.7053489876226</c:v>
                </c:pt>
                <c:pt idx="79">
                  <c:v>1013.683679369954</c:v>
                </c:pt>
                <c:pt idx="80">
                  <c:v>1009.8145291756862</c:v>
                </c:pt>
                <c:pt idx="81">
                  <c:v>1005.1240476885006</c:v>
                </c:pt>
                <c:pt idx="82">
                  <c:v>999.6221568242205</c:v>
                </c:pt>
                <c:pt idx="83">
                  <c:v>993.31067810810487</c:v>
                </c:pt>
                <c:pt idx="84">
                  <c:v>986.2174100277025</c:v>
                </c:pt>
                <c:pt idx="85">
                  <c:v>978.36798305022171</c:v>
                </c:pt>
                <c:pt idx="86">
                  <c:v>969.78903810151746</c:v>
                </c:pt>
                <c:pt idx="87">
                  <c:v>960.5030380806902</c:v>
                </c:pt>
                <c:pt idx="88">
                  <c:v>950.54002594936981</c:v>
                </c:pt>
                <c:pt idx="89">
                  <c:v>939.92643156297208</c:v>
                </c:pt>
                <c:pt idx="90">
                  <c:v>928.68679284497784</c:v>
                </c:pt>
                <c:pt idx="91">
                  <c:v>916.85197503342897</c:v>
                </c:pt>
                <c:pt idx="92">
                  <c:v>904.45639301939104</c:v>
                </c:pt>
                <c:pt idx="93">
                  <c:v>891.53295792184622</c:v>
                </c:pt>
                <c:pt idx="94">
                  <c:v>878.11396244792013</c:v>
                </c:pt>
                <c:pt idx="95">
                  <c:v>864.233013927154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943-4239-8356-43AE741C0C2C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539.42795017618585</c:v>
                </c:pt>
                <c:pt idx="43">
                  <c:v>568.97315736335486</c:v>
                </c:pt>
                <c:pt idx="44">
                  <c:v>598.1315041085453</c:v>
                </c:pt>
                <c:pt idx="45">
                  <c:v>626.41969743022628</c:v>
                </c:pt>
                <c:pt idx="46">
                  <c:v>655.01089073764501</c:v>
                </c:pt>
                <c:pt idx="47">
                  <c:v>684.35382358599531</c:v>
                </c:pt>
                <c:pt idx="48">
                  <c:v>713.76435200672961</c:v>
                </c:pt>
                <c:pt idx="49">
                  <c:v>743.03004175543219</c:v>
                </c:pt>
                <c:pt idx="50">
                  <c:v>770.766517488506</c:v>
                </c:pt>
                <c:pt idx="51">
                  <c:v>798.64187711591785</c:v>
                </c:pt>
                <c:pt idx="52">
                  <c:v>826.42985741506754</c:v>
                </c:pt>
                <c:pt idx="53">
                  <c:v>854.58263757347913</c:v>
                </c:pt>
                <c:pt idx="54">
                  <c:v>881.58054805199367</c:v>
                </c:pt>
                <c:pt idx="55">
                  <c:v>908.16769807312016</c:v>
                </c:pt>
                <c:pt idx="56">
                  <c:v>935.01565076027282</c:v>
                </c:pt>
                <c:pt idx="57">
                  <c:v>961.24569155628285</c:v>
                </c:pt>
                <c:pt idx="58">
                  <c:v>987.00108213151634</c:v>
                </c:pt>
                <c:pt idx="59">
                  <c:v>1012.1308299236841</c:v>
                </c:pt>
                <c:pt idx="60">
                  <c:v>1037.1199403648313</c:v>
                </c:pt>
                <c:pt idx="61">
                  <c:v>1061.3245002309607</c:v>
                </c:pt>
                <c:pt idx="62">
                  <c:v>1084.6898012894042</c:v>
                </c:pt>
                <c:pt idx="63">
                  <c:v>1107.4567573587524</c:v>
                </c:pt>
                <c:pt idx="64">
                  <c:v>1129.7496142613702</c:v>
                </c:pt>
                <c:pt idx="65">
                  <c:v>1151.0393588208663</c:v>
                </c:pt>
                <c:pt idx="66">
                  <c:v>1171.3422472676352</c:v>
                </c:pt>
                <c:pt idx="67">
                  <c:v>1190.7882001243631</c:v>
                </c:pt>
                <c:pt idx="68">
                  <c:v>1209.3825298062034</c:v>
                </c:pt>
                <c:pt idx="69">
                  <c:v>1227.0219736038248</c:v>
                </c:pt>
                <c:pt idx="70">
                  <c:v>1243.6064356066204</c:v>
                </c:pt>
                <c:pt idx="71">
                  <c:v>1259.2345301756518</c:v>
                </c:pt>
                <c:pt idx="72">
                  <c:v>1273.6862264634728</c:v>
                </c:pt>
                <c:pt idx="73">
                  <c:v>1286.9321870926633</c:v>
                </c:pt>
                <c:pt idx="74">
                  <c:v>1298.8300724689871</c:v>
                </c:pt>
                <c:pt idx="75">
                  <c:v>1309.4916527318251</c:v>
                </c:pt>
                <c:pt idx="76">
                  <c:v>1318.8845836412895</c:v>
                </c:pt>
                <c:pt idx="77">
                  <c:v>1326.9681222485583</c:v>
                </c:pt>
                <c:pt idx="78">
                  <c:v>1333.6690666647505</c:v>
                </c:pt>
                <c:pt idx="79">
                  <c:v>1338.930546977155</c:v>
                </c:pt>
                <c:pt idx="80">
                  <c:v>1342.7774565222339</c:v>
                </c:pt>
                <c:pt idx="81">
                  <c:v>1345.2098877066833</c:v>
                </c:pt>
                <c:pt idx="82">
                  <c:v>1346.2151346762907</c:v>
                </c:pt>
                <c:pt idx="83">
                  <c:v>1345.7758817215599</c:v>
                </c:pt>
                <c:pt idx="84">
                  <c:v>1343.904277604388</c:v>
                </c:pt>
                <c:pt idx="85">
                  <c:v>1340.613916579005</c:v>
                </c:pt>
                <c:pt idx="86">
                  <c:v>1335.9229836655982</c:v>
                </c:pt>
                <c:pt idx="87">
                  <c:v>1329.8490735910939</c:v>
                </c:pt>
                <c:pt idx="88">
                  <c:v>1322.4208701280554</c:v>
                </c:pt>
                <c:pt idx="89">
                  <c:v>1313.6668531908967</c:v>
                </c:pt>
                <c:pt idx="90">
                  <c:v>1303.6168668083906</c:v>
                </c:pt>
                <c:pt idx="91">
                  <c:v>1292.3102075588404</c:v>
                </c:pt>
                <c:pt idx="92">
                  <c:v>1279.7927303310021</c:v>
                </c:pt>
                <c:pt idx="93">
                  <c:v>1266.1116307990249</c:v>
                </c:pt>
                <c:pt idx="94">
                  <c:v>1251.3161224681357</c:v>
                </c:pt>
                <c:pt idx="95">
                  <c:v>1235.45907548037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943-4239-8356-43AE741C0C2C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540.51549826427538</c:v>
                </c:pt>
                <c:pt idx="43">
                  <c:v>571.5910858627758</c:v>
                </c:pt>
                <c:pt idx="44">
                  <c:v>602.78128618527444</c:v>
                </c:pt>
                <c:pt idx="45">
                  <c:v>633.65767568492367</c:v>
                </c:pt>
                <c:pt idx="46">
                  <c:v>665.43341592890374</c:v>
                </c:pt>
                <c:pt idx="47">
                  <c:v>698.61618345308102</c:v>
                </c:pt>
                <c:pt idx="48">
                  <c:v>732.54225933768271</c:v>
                </c:pt>
                <c:pt idx="49">
                  <c:v>767.03291820809523</c:v>
                </c:pt>
                <c:pt idx="50">
                  <c:v>800.71516712438824</c:v>
                </c:pt>
                <c:pt idx="51">
                  <c:v>835.27358124687066</c:v>
                </c:pt>
                <c:pt idx="52">
                  <c:v>870.48853065666231</c:v>
                </c:pt>
                <c:pt idx="53">
                  <c:v>906.80570036789447</c:v>
                </c:pt>
                <c:pt idx="54">
                  <c:v>942.70150185963507</c:v>
                </c:pt>
                <c:pt idx="55">
                  <c:v>978.9003239243392</c:v>
                </c:pt>
                <c:pt idx="56">
                  <c:v>1016.0577294254427</c:v>
                </c:pt>
                <c:pt idx="57">
                  <c:v>1053.2672304785012</c:v>
                </c:pt>
                <c:pt idx="58">
                  <c:v>1090.637222738329</c:v>
                </c:pt>
                <c:pt idx="59">
                  <c:v>1127.9581155742762</c:v>
                </c:pt>
                <c:pt idx="60">
                  <c:v>1165.6791847393633</c:v>
                </c:pt>
                <c:pt idx="61">
                  <c:v>1203.0930349235341</c:v>
                </c:pt>
                <c:pt idx="62">
                  <c:v>1240.0942579410014</c:v>
                </c:pt>
                <c:pt idx="63">
                  <c:v>1276.8724773822505</c:v>
                </c:pt>
                <c:pt idx="64">
                  <c:v>1313.4847162796664</c:v>
                </c:pt>
                <c:pt idx="65">
                  <c:v>1349.3326589612561</c:v>
                </c:pt>
                <c:pt idx="66">
                  <c:v>1384.3653204047293</c:v>
                </c:pt>
                <c:pt idx="67">
                  <c:v>1418.648935416436</c:v>
                </c:pt>
                <c:pt idx="68">
                  <c:v>1452.1168655310275</c:v>
                </c:pt>
                <c:pt idx="69">
                  <c:v>1484.5923372331545</c:v>
                </c:pt>
                <c:pt idx="70">
                  <c:v>1515.8983249539224</c:v>
                </c:pt>
                <c:pt idx="71">
                  <c:v>1546.0559322987924</c:v>
                </c:pt>
                <c:pt idx="72">
                  <c:v>1574.7652533883713</c:v>
                </c:pt>
                <c:pt idx="73">
                  <c:v>1601.9234507262049</c:v>
                </c:pt>
                <c:pt idx="74">
                  <c:v>1627.313656451023</c:v>
                </c:pt>
                <c:pt idx="75">
                  <c:v>1650.9782259636629</c:v>
                </c:pt>
                <c:pt idx="76">
                  <c:v>1672.8158770640275</c:v>
                </c:pt>
                <c:pt idx="77">
                  <c:v>1692.7200867042798</c:v>
                </c:pt>
                <c:pt idx="78">
                  <c:v>1710.5518765775907</c:v>
                </c:pt>
                <c:pt idx="79">
                  <c:v>1726.1949688739619</c:v>
                </c:pt>
                <c:pt idx="80">
                  <c:v>1739.6232706404064</c:v>
                </c:pt>
                <c:pt idx="81">
                  <c:v>1750.7889331175338</c:v>
                </c:pt>
                <c:pt idx="82">
                  <c:v>1759.6370090297041</c:v>
                </c:pt>
                <c:pt idx="83">
                  <c:v>1766.1139568243143</c:v>
                </c:pt>
                <c:pt idx="84">
                  <c:v>1770.2019250764154</c:v>
                </c:pt>
                <c:pt idx="85">
                  <c:v>1771.8910267806193</c:v>
                </c:pt>
                <c:pt idx="86">
                  <c:v>1771.1825775644397</c:v>
                </c:pt>
                <c:pt idx="87">
                  <c:v>1768.0840056424856</c:v>
                </c:pt>
                <c:pt idx="88">
                  <c:v>1762.6204862582392</c:v>
                </c:pt>
                <c:pt idx="89">
                  <c:v>1754.823532372196</c:v>
                </c:pt>
                <c:pt idx="90">
                  <c:v>1744.7323500935113</c:v>
                </c:pt>
                <c:pt idx="91">
                  <c:v>1732.4017006102067</c:v>
                </c:pt>
                <c:pt idx="92">
                  <c:v>1717.8987505964114</c:v>
                </c:pt>
                <c:pt idx="93">
                  <c:v>1701.2975179488428</c:v>
                </c:pt>
                <c:pt idx="94">
                  <c:v>1682.6791354108339</c:v>
                </c:pt>
                <c:pt idx="95">
                  <c:v>1662.133053598002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943-4239-8356-43AE741C0C2C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A943-4239-8356-43AE741C0C2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areaChart>
        <c:grouping val="standard"/>
        <c:varyColors val="0"/>
        <c:ser>
          <c:idx val="6"/>
          <c:order val="6"/>
          <c:tx>
            <c:strRef>
              <c:f>Sheet1!$H$1</c:f>
              <c:strCache>
                <c:ptCount val="1"/>
                <c:pt idx="0">
                  <c:v>cutoff100</c:v>
                </c:pt>
              </c:strCache>
            </c:strRef>
          </c:tx>
          <c:spPr>
            <a:solidFill>
              <a:srgbClr val="FFC78F"/>
            </a:solidFill>
            <a:ln>
              <a:noFill/>
            </a:ln>
            <a:effectLst/>
          </c:spPr>
          <c:cat>
            <c:numRef>
              <c:f>Sheet1!$A$122:$A$344</c:f>
              <c:numCache>
                <c:formatCode>m/d/yyyy</c:formatCode>
                <c:ptCount val="22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  <c:pt idx="188">
                  <c:v>44536</c:v>
                </c:pt>
                <c:pt idx="189">
                  <c:v>44537</c:v>
                </c:pt>
                <c:pt idx="190">
                  <c:v>44538</c:v>
                </c:pt>
                <c:pt idx="191">
                  <c:v>44539</c:v>
                </c:pt>
                <c:pt idx="192">
                  <c:v>44540</c:v>
                </c:pt>
                <c:pt idx="193">
                  <c:v>44541</c:v>
                </c:pt>
                <c:pt idx="194">
                  <c:v>44542</c:v>
                </c:pt>
                <c:pt idx="195">
                  <c:v>44543</c:v>
                </c:pt>
                <c:pt idx="196">
                  <c:v>44544</c:v>
                </c:pt>
                <c:pt idx="197">
                  <c:v>44545</c:v>
                </c:pt>
                <c:pt idx="198">
                  <c:v>44546</c:v>
                </c:pt>
                <c:pt idx="199">
                  <c:v>44547</c:v>
                </c:pt>
                <c:pt idx="200">
                  <c:v>44548</c:v>
                </c:pt>
                <c:pt idx="201">
                  <c:v>44549</c:v>
                </c:pt>
                <c:pt idx="202">
                  <c:v>44550</c:v>
                </c:pt>
                <c:pt idx="203">
                  <c:v>44551</c:v>
                </c:pt>
                <c:pt idx="204">
                  <c:v>44552</c:v>
                </c:pt>
                <c:pt idx="205">
                  <c:v>44553</c:v>
                </c:pt>
                <c:pt idx="206">
                  <c:v>44554</c:v>
                </c:pt>
                <c:pt idx="207">
                  <c:v>44555</c:v>
                </c:pt>
                <c:pt idx="208">
                  <c:v>44556</c:v>
                </c:pt>
                <c:pt idx="209">
                  <c:v>44557</c:v>
                </c:pt>
                <c:pt idx="210">
                  <c:v>44558</c:v>
                </c:pt>
                <c:pt idx="211">
                  <c:v>44559</c:v>
                </c:pt>
                <c:pt idx="212">
                  <c:v>44560</c:v>
                </c:pt>
                <c:pt idx="213">
                  <c:v>44561</c:v>
                </c:pt>
                <c:pt idx="214">
                  <c:v>44562</c:v>
                </c:pt>
                <c:pt idx="215">
                  <c:v>44563</c:v>
                </c:pt>
                <c:pt idx="216">
                  <c:v>44564</c:v>
                </c:pt>
                <c:pt idx="217">
                  <c:v>44565</c:v>
                </c:pt>
                <c:pt idx="218">
                  <c:v>44566</c:v>
                </c:pt>
                <c:pt idx="219">
                  <c:v>44567</c:v>
                </c:pt>
                <c:pt idx="220">
                  <c:v>44568</c:v>
                </c:pt>
                <c:pt idx="221">
                  <c:v>44569</c:v>
                </c:pt>
                <c:pt idx="222">
                  <c:v>44570</c:v>
                </c:pt>
              </c:numCache>
            </c:numRef>
          </c:cat>
          <c:val>
            <c:numRef>
              <c:f>Sheet1!$H$122:$H$344</c:f>
              <c:numCache>
                <c:formatCode>General</c:formatCode>
                <c:ptCount val="223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100</c:v>
                </c:pt>
                <c:pt idx="5">
                  <c:v>100</c:v>
                </c:pt>
                <c:pt idx="6">
                  <c:v>100</c:v>
                </c:pt>
                <c:pt idx="7">
                  <c:v>100</c:v>
                </c:pt>
                <c:pt idx="8">
                  <c:v>100</c:v>
                </c:pt>
                <c:pt idx="9">
                  <c:v>100</c:v>
                </c:pt>
                <c:pt idx="10">
                  <c:v>100</c:v>
                </c:pt>
                <c:pt idx="11">
                  <c:v>100</c:v>
                </c:pt>
                <c:pt idx="12">
                  <c:v>100</c:v>
                </c:pt>
                <c:pt idx="13">
                  <c:v>100</c:v>
                </c:pt>
                <c:pt idx="14">
                  <c:v>100</c:v>
                </c:pt>
                <c:pt idx="15">
                  <c:v>100</c:v>
                </c:pt>
                <c:pt idx="16">
                  <c:v>100</c:v>
                </c:pt>
                <c:pt idx="17">
                  <c:v>100</c:v>
                </c:pt>
                <c:pt idx="18">
                  <c:v>100</c:v>
                </c:pt>
                <c:pt idx="19">
                  <c:v>100</c:v>
                </c:pt>
                <c:pt idx="20">
                  <c:v>100</c:v>
                </c:pt>
                <c:pt idx="21">
                  <c:v>100</c:v>
                </c:pt>
                <c:pt idx="22">
                  <c:v>100</c:v>
                </c:pt>
                <c:pt idx="23">
                  <c:v>100</c:v>
                </c:pt>
                <c:pt idx="24">
                  <c:v>100</c:v>
                </c:pt>
                <c:pt idx="25">
                  <c:v>100</c:v>
                </c:pt>
                <c:pt idx="26">
                  <c:v>100</c:v>
                </c:pt>
                <c:pt idx="27">
                  <c:v>100</c:v>
                </c:pt>
                <c:pt idx="28">
                  <c:v>100</c:v>
                </c:pt>
                <c:pt idx="29">
                  <c:v>100</c:v>
                </c:pt>
                <c:pt idx="30">
                  <c:v>100</c:v>
                </c:pt>
                <c:pt idx="31">
                  <c:v>100</c:v>
                </c:pt>
                <c:pt idx="32">
                  <c:v>100</c:v>
                </c:pt>
                <c:pt idx="33">
                  <c:v>100</c:v>
                </c:pt>
                <c:pt idx="34">
                  <c:v>100</c:v>
                </c:pt>
                <c:pt idx="35">
                  <c:v>100</c:v>
                </c:pt>
                <c:pt idx="36">
                  <c:v>100</c:v>
                </c:pt>
                <c:pt idx="37">
                  <c:v>100</c:v>
                </c:pt>
                <c:pt idx="38">
                  <c:v>100</c:v>
                </c:pt>
                <c:pt idx="39">
                  <c:v>100</c:v>
                </c:pt>
                <c:pt idx="40">
                  <c:v>100</c:v>
                </c:pt>
                <c:pt idx="41">
                  <c:v>100</c:v>
                </c:pt>
                <c:pt idx="42">
                  <c:v>100</c:v>
                </c:pt>
                <c:pt idx="43">
                  <c:v>100</c:v>
                </c:pt>
                <c:pt idx="44">
                  <c:v>100</c:v>
                </c:pt>
                <c:pt idx="45">
                  <c:v>100</c:v>
                </c:pt>
                <c:pt idx="46">
                  <c:v>100</c:v>
                </c:pt>
                <c:pt idx="47">
                  <c:v>100</c:v>
                </c:pt>
                <c:pt idx="48">
                  <c:v>100</c:v>
                </c:pt>
                <c:pt idx="49">
                  <c:v>100</c:v>
                </c:pt>
                <c:pt idx="50">
                  <c:v>100</c:v>
                </c:pt>
                <c:pt idx="51">
                  <c:v>100</c:v>
                </c:pt>
                <c:pt idx="52">
                  <c:v>100</c:v>
                </c:pt>
                <c:pt idx="53">
                  <c:v>100</c:v>
                </c:pt>
                <c:pt idx="54">
                  <c:v>100</c:v>
                </c:pt>
                <c:pt idx="55">
                  <c:v>100</c:v>
                </c:pt>
                <c:pt idx="56">
                  <c:v>100</c:v>
                </c:pt>
                <c:pt idx="57">
                  <c:v>100</c:v>
                </c:pt>
                <c:pt idx="58">
                  <c:v>100</c:v>
                </c:pt>
                <c:pt idx="59">
                  <c:v>100</c:v>
                </c:pt>
                <c:pt idx="60">
                  <c:v>100</c:v>
                </c:pt>
                <c:pt idx="61">
                  <c:v>100</c:v>
                </c:pt>
                <c:pt idx="62">
                  <c:v>100</c:v>
                </c:pt>
                <c:pt idx="63">
                  <c:v>100</c:v>
                </c:pt>
                <c:pt idx="64">
                  <c:v>100</c:v>
                </c:pt>
                <c:pt idx="65">
                  <c:v>100</c:v>
                </c:pt>
                <c:pt idx="66">
                  <c:v>100</c:v>
                </c:pt>
                <c:pt idx="67">
                  <c:v>100</c:v>
                </c:pt>
                <c:pt idx="68">
                  <c:v>100</c:v>
                </c:pt>
                <c:pt idx="69">
                  <c:v>100</c:v>
                </c:pt>
                <c:pt idx="70">
                  <c:v>100</c:v>
                </c:pt>
                <c:pt idx="71">
                  <c:v>100</c:v>
                </c:pt>
                <c:pt idx="72">
                  <c:v>100</c:v>
                </c:pt>
                <c:pt idx="73">
                  <c:v>100</c:v>
                </c:pt>
                <c:pt idx="74">
                  <c:v>100</c:v>
                </c:pt>
                <c:pt idx="75">
                  <c:v>100</c:v>
                </c:pt>
                <c:pt idx="76">
                  <c:v>100</c:v>
                </c:pt>
                <c:pt idx="77">
                  <c:v>100</c:v>
                </c:pt>
                <c:pt idx="78">
                  <c:v>100</c:v>
                </c:pt>
                <c:pt idx="79">
                  <c:v>100</c:v>
                </c:pt>
                <c:pt idx="80">
                  <c:v>100</c:v>
                </c:pt>
                <c:pt idx="81">
                  <c:v>100</c:v>
                </c:pt>
                <c:pt idx="82">
                  <c:v>100</c:v>
                </c:pt>
                <c:pt idx="83">
                  <c:v>100</c:v>
                </c:pt>
                <c:pt idx="84">
                  <c:v>100</c:v>
                </c:pt>
                <c:pt idx="85">
                  <c:v>100</c:v>
                </c:pt>
                <c:pt idx="86">
                  <c:v>100</c:v>
                </c:pt>
                <c:pt idx="87">
                  <c:v>100</c:v>
                </c:pt>
                <c:pt idx="88">
                  <c:v>100</c:v>
                </c:pt>
                <c:pt idx="89">
                  <c:v>100</c:v>
                </c:pt>
                <c:pt idx="90">
                  <c:v>100</c:v>
                </c:pt>
                <c:pt idx="91">
                  <c:v>100</c:v>
                </c:pt>
                <c:pt idx="92">
                  <c:v>100</c:v>
                </c:pt>
                <c:pt idx="93">
                  <c:v>100</c:v>
                </c:pt>
                <c:pt idx="94">
                  <c:v>100</c:v>
                </c:pt>
                <c:pt idx="95">
                  <c:v>100</c:v>
                </c:pt>
                <c:pt idx="96">
                  <c:v>100</c:v>
                </c:pt>
                <c:pt idx="97">
                  <c:v>100</c:v>
                </c:pt>
                <c:pt idx="98">
                  <c:v>100</c:v>
                </c:pt>
                <c:pt idx="99">
                  <c:v>100</c:v>
                </c:pt>
                <c:pt idx="100">
                  <c:v>100</c:v>
                </c:pt>
                <c:pt idx="101">
                  <c:v>100</c:v>
                </c:pt>
                <c:pt idx="102">
                  <c:v>100</c:v>
                </c:pt>
                <c:pt idx="103">
                  <c:v>100</c:v>
                </c:pt>
                <c:pt idx="104">
                  <c:v>100</c:v>
                </c:pt>
                <c:pt idx="105">
                  <c:v>100</c:v>
                </c:pt>
                <c:pt idx="106">
                  <c:v>100</c:v>
                </c:pt>
                <c:pt idx="107">
                  <c:v>100</c:v>
                </c:pt>
                <c:pt idx="108">
                  <c:v>100</c:v>
                </c:pt>
                <c:pt idx="109">
                  <c:v>100</c:v>
                </c:pt>
                <c:pt idx="110">
                  <c:v>100</c:v>
                </c:pt>
                <c:pt idx="111">
                  <c:v>100</c:v>
                </c:pt>
                <c:pt idx="112">
                  <c:v>100</c:v>
                </c:pt>
                <c:pt idx="113">
                  <c:v>100</c:v>
                </c:pt>
                <c:pt idx="114">
                  <c:v>100</c:v>
                </c:pt>
                <c:pt idx="115">
                  <c:v>100</c:v>
                </c:pt>
                <c:pt idx="116">
                  <c:v>100</c:v>
                </c:pt>
                <c:pt idx="117">
                  <c:v>100</c:v>
                </c:pt>
                <c:pt idx="118">
                  <c:v>100</c:v>
                </c:pt>
                <c:pt idx="119">
                  <c:v>100</c:v>
                </c:pt>
                <c:pt idx="120">
                  <c:v>100</c:v>
                </c:pt>
                <c:pt idx="121">
                  <c:v>100</c:v>
                </c:pt>
                <c:pt idx="122">
                  <c:v>100</c:v>
                </c:pt>
                <c:pt idx="123">
                  <c:v>100</c:v>
                </c:pt>
                <c:pt idx="124">
                  <c:v>100</c:v>
                </c:pt>
                <c:pt idx="125">
                  <c:v>100</c:v>
                </c:pt>
                <c:pt idx="126">
                  <c:v>100</c:v>
                </c:pt>
                <c:pt idx="127">
                  <c:v>100</c:v>
                </c:pt>
                <c:pt idx="128">
                  <c:v>100</c:v>
                </c:pt>
                <c:pt idx="129">
                  <c:v>100</c:v>
                </c:pt>
                <c:pt idx="130">
                  <c:v>100</c:v>
                </c:pt>
                <c:pt idx="131">
                  <c:v>100</c:v>
                </c:pt>
                <c:pt idx="132">
                  <c:v>100</c:v>
                </c:pt>
                <c:pt idx="133">
                  <c:v>100</c:v>
                </c:pt>
                <c:pt idx="134">
                  <c:v>100</c:v>
                </c:pt>
                <c:pt idx="135">
                  <c:v>100</c:v>
                </c:pt>
                <c:pt idx="136">
                  <c:v>100</c:v>
                </c:pt>
                <c:pt idx="137">
                  <c:v>100</c:v>
                </c:pt>
                <c:pt idx="138">
                  <c:v>100</c:v>
                </c:pt>
                <c:pt idx="139">
                  <c:v>100</c:v>
                </c:pt>
                <c:pt idx="140">
                  <c:v>100</c:v>
                </c:pt>
                <c:pt idx="141">
                  <c:v>100</c:v>
                </c:pt>
                <c:pt idx="142">
                  <c:v>100</c:v>
                </c:pt>
                <c:pt idx="143">
                  <c:v>100</c:v>
                </c:pt>
                <c:pt idx="144">
                  <c:v>100</c:v>
                </c:pt>
                <c:pt idx="145">
                  <c:v>100</c:v>
                </c:pt>
                <c:pt idx="146">
                  <c:v>100</c:v>
                </c:pt>
                <c:pt idx="147">
                  <c:v>100</c:v>
                </c:pt>
                <c:pt idx="148">
                  <c:v>100</c:v>
                </c:pt>
                <c:pt idx="149">
                  <c:v>100</c:v>
                </c:pt>
                <c:pt idx="150">
                  <c:v>100</c:v>
                </c:pt>
                <c:pt idx="151">
                  <c:v>100</c:v>
                </c:pt>
                <c:pt idx="152">
                  <c:v>100</c:v>
                </c:pt>
                <c:pt idx="153">
                  <c:v>100</c:v>
                </c:pt>
                <c:pt idx="154">
                  <c:v>100</c:v>
                </c:pt>
                <c:pt idx="155">
                  <c:v>100</c:v>
                </c:pt>
                <c:pt idx="156">
                  <c:v>100</c:v>
                </c:pt>
                <c:pt idx="157">
                  <c:v>100</c:v>
                </c:pt>
                <c:pt idx="158">
                  <c:v>100</c:v>
                </c:pt>
                <c:pt idx="159">
                  <c:v>100</c:v>
                </c:pt>
                <c:pt idx="160">
                  <c:v>100</c:v>
                </c:pt>
                <c:pt idx="161">
                  <c:v>100</c:v>
                </c:pt>
                <c:pt idx="162">
                  <c:v>100</c:v>
                </c:pt>
                <c:pt idx="163">
                  <c:v>100</c:v>
                </c:pt>
                <c:pt idx="164">
                  <c:v>100</c:v>
                </c:pt>
                <c:pt idx="165">
                  <c:v>100</c:v>
                </c:pt>
                <c:pt idx="166">
                  <c:v>100</c:v>
                </c:pt>
                <c:pt idx="167">
                  <c:v>100</c:v>
                </c:pt>
                <c:pt idx="168">
                  <c:v>100</c:v>
                </c:pt>
                <c:pt idx="169">
                  <c:v>100</c:v>
                </c:pt>
                <c:pt idx="170">
                  <c:v>100</c:v>
                </c:pt>
                <c:pt idx="171">
                  <c:v>100</c:v>
                </c:pt>
                <c:pt idx="172">
                  <c:v>100</c:v>
                </c:pt>
                <c:pt idx="173">
                  <c:v>100</c:v>
                </c:pt>
                <c:pt idx="174">
                  <c:v>100</c:v>
                </c:pt>
                <c:pt idx="175">
                  <c:v>100</c:v>
                </c:pt>
                <c:pt idx="176">
                  <c:v>100</c:v>
                </c:pt>
                <c:pt idx="177">
                  <c:v>100</c:v>
                </c:pt>
                <c:pt idx="178">
                  <c:v>100</c:v>
                </c:pt>
                <c:pt idx="179">
                  <c:v>100</c:v>
                </c:pt>
                <c:pt idx="180">
                  <c:v>100</c:v>
                </c:pt>
                <c:pt idx="181">
                  <c:v>100</c:v>
                </c:pt>
                <c:pt idx="182">
                  <c:v>100</c:v>
                </c:pt>
                <c:pt idx="183">
                  <c:v>100</c:v>
                </c:pt>
                <c:pt idx="184">
                  <c:v>100</c:v>
                </c:pt>
                <c:pt idx="185">
                  <c:v>100</c:v>
                </c:pt>
                <c:pt idx="186">
                  <c:v>100</c:v>
                </c:pt>
                <c:pt idx="187">
                  <c:v>100</c:v>
                </c:pt>
                <c:pt idx="188">
                  <c:v>100</c:v>
                </c:pt>
                <c:pt idx="189">
                  <c:v>100</c:v>
                </c:pt>
                <c:pt idx="190">
                  <c:v>100</c:v>
                </c:pt>
                <c:pt idx="191">
                  <c:v>100</c:v>
                </c:pt>
                <c:pt idx="192">
                  <c:v>100</c:v>
                </c:pt>
                <c:pt idx="193">
                  <c:v>100</c:v>
                </c:pt>
                <c:pt idx="194">
                  <c:v>100</c:v>
                </c:pt>
                <c:pt idx="195">
                  <c:v>100</c:v>
                </c:pt>
                <c:pt idx="196">
                  <c:v>100</c:v>
                </c:pt>
                <c:pt idx="197">
                  <c:v>100</c:v>
                </c:pt>
                <c:pt idx="198">
                  <c:v>100</c:v>
                </c:pt>
                <c:pt idx="199">
                  <c:v>100</c:v>
                </c:pt>
                <c:pt idx="200">
                  <c:v>100</c:v>
                </c:pt>
                <c:pt idx="201">
                  <c:v>100</c:v>
                </c:pt>
                <c:pt idx="202">
                  <c:v>100</c:v>
                </c:pt>
                <c:pt idx="203">
                  <c:v>100</c:v>
                </c:pt>
                <c:pt idx="204">
                  <c:v>100</c:v>
                </c:pt>
                <c:pt idx="205">
                  <c:v>100</c:v>
                </c:pt>
                <c:pt idx="206">
                  <c:v>100</c:v>
                </c:pt>
                <c:pt idx="207">
                  <c:v>100</c:v>
                </c:pt>
                <c:pt idx="208">
                  <c:v>100</c:v>
                </c:pt>
                <c:pt idx="209">
                  <c:v>100</c:v>
                </c:pt>
                <c:pt idx="210">
                  <c:v>100</c:v>
                </c:pt>
                <c:pt idx="211">
                  <c:v>100</c:v>
                </c:pt>
                <c:pt idx="212">
                  <c:v>100</c:v>
                </c:pt>
                <c:pt idx="213">
                  <c:v>100</c:v>
                </c:pt>
                <c:pt idx="214">
                  <c:v>100</c:v>
                </c:pt>
                <c:pt idx="215">
                  <c:v>100</c:v>
                </c:pt>
                <c:pt idx="216">
                  <c:v>100</c:v>
                </c:pt>
                <c:pt idx="217">
                  <c:v>100</c:v>
                </c:pt>
                <c:pt idx="218">
                  <c:v>100</c:v>
                </c:pt>
                <c:pt idx="219">
                  <c:v>100</c:v>
                </c:pt>
                <c:pt idx="220">
                  <c:v>100</c:v>
                </c:pt>
                <c:pt idx="221">
                  <c:v>100</c:v>
                </c:pt>
                <c:pt idx="222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4C6-4CA2-937D-BBB2646D5F64}"/>
            </c:ext>
          </c:extLst>
        </c:ser>
        <c:ser>
          <c:idx val="7"/>
          <c:order val="7"/>
          <c:tx>
            <c:strRef>
              <c:f>Sheet1!$I$1</c:f>
              <c:strCache>
                <c:ptCount val="1"/>
                <c:pt idx="0">
                  <c:v>cutoff50</c:v>
                </c:pt>
              </c:strCache>
            </c:strRef>
          </c:tx>
          <c:spPr>
            <a:solidFill>
              <a:srgbClr val="C2FFDF"/>
            </a:solidFill>
            <a:ln>
              <a:noFill/>
            </a:ln>
            <a:effectLst/>
          </c:spPr>
          <c:cat>
            <c:numRef>
              <c:f>Sheet1!$A$122:$A$344</c:f>
              <c:numCache>
                <c:formatCode>m/d/yyyy</c:formatCode>
                <c:ptCount val="22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  <c:pt idx="188">
                  <c:v>44536</c:v>
                </c:pt>
                <c:pt idx="189">
                  <c:v>44537</c:v>
                </c:pt>
                <c:pt idx="190">
                  <c:v>44538</c:v>
                </c:pt>
                <c:pt idx="191">
                  <c:v>44539</c:v>
                </c:pt>
                <c:pt idx="192">
                  <c:v>44540</c:v>
                </c:pt>
                <c:pt idx="193">
                  <c:v>44541</c:v>
                </c:pt>
                <c:pt idx="194">
                  <c:v>44542</c:v>
                </c:pt>
                <c:pt idx="195">
                  <c:v>44543</c:v>
                </c:pt>
                <c:pt idx="196">
                  <c:v>44544</c:v>
                </c:pt>
                <c:pt idx="197">
                  <c:v>44545</c:v>
                </c:pt>
                <c:pt idx="198">
                  <c:v>44546</c:v>
                </c:pt>
                <c:pt idx="199">
                  <c:v>44547</c:v>
                </c:pt>
                <c:pt idx="200">
                  <c:v>44548</c:v>
                </c:pt>
                <c:pt idx="201">
                  <c:v>44549</c:v>
                </c:pt>
                <c:pt idx="202">
                  <c:v>44550</c:v>
                </c:pt>
                <c:pt idx="203">
                  <c:v>44551</c:v>
                </c:pt>
                <c:pt idx="204">
                  <c:v>44552</c:v>
                </c:pt>
                <c:pt idx="205">
                  <c:v>44553</c:v>
                </c:pt>
                <c:pt idx="206">
                  <c:v>44554</c:v>
                </c:pt>
                <c:pt idx="207">
                  <c:v>44555</c:v>
                </c:pt>
                <c:pt idx="208">
                  <c:v>44556</c:v>
                </c:pt>
                <c:pt idx="209">
                  <c:v>44557</c:v>
                </c:pt>
                <c:pt idx="210">
                  <c:v>44558</c:v>
                </c:pt>
                <c:pt idx="211">
                  <c:v>44559</c:v>
                </c:pt>
                <c:pt idx="212">
                  <c:v>44560</c:v>
                </c:pt>
                <c:pt idx="213">
                  <c:v>44561</c:v>
                </c:pt>
                <c:pt idx="214">
                  <c:v>44562</c:v>
                </c:pt>
                <c:pt idx="215">
                  <c:v>44563</c:v>
                </c:pt>
                <c:pt idx="216">
                  <c:v>44564</c:v>
                </c:pt>
                <c:pt idx="217">
                  <c:v>44565</c:v>
                </c:pt>
                <c:pt idx="218">
                  <c:v>44566</c:v>
                </c:pt>
                <c:pt idx="219">
                  <c:v>44567</c:v>
                </c:pt>
                <c:pt idx="220">
                  <c:v>44568</c:v>
                </c:pt>
                <c:pt idx="221">
                  <c:v>44569</c:v>
                </c:pt>
                <c:pt idx="222">
                  <c:v>44570</c:v>
                </c:pt>
              </c:numCache>
            </c:numRef>
          </c:cat>
          <c:val>
            <c:numRef>
              <c:f>Sheet1!$I$122:$I$344</c:f>
              <c:numCache>
                <c:formatCode>General</c:formatCode>
                <c:ptCount val="223"/>
                <c:pt idx="0">
                  <c:v>50</c:v>
                </c:pt>
                <c:pt idx="1">
                  <c:v>50</c:v>
                </c:pt>
                <c:pt idx="2">
                  <c:v>50</c:v>
                </c:pt>
                <c:pt idx="3">
                  <c:v>50</c:v>
                </c:pt>
                <c:pt idx="4">
                  <c:v>50</c:v>
                </c:pt>
                <c:pt idx="5">
                  <c:v>50</c:v>
                </c:pt>
                <c:pt idx="6">
                  <c:v>50</c:v>
                </c:pt>
                <c:pt idx="7">
                  <c:v>50</c:v>
                </c:pt>
                <c:pt idx="8">
                  <c:v>50</c:v>
                </c:pt>
                <c:pt idx="9">
                  <c:v>50</c:v>
                </c:pt>
                <c:pt idx="10">
                  <c:v>50</c:v>
                </c:pt>
                <c:pt idx="11">
                  <c:v>50</c:v>
                </c:pt>
                <c:pt idx="12">
                  <c:v>50</c:v>
                </c:pt>
                <c:pt idx="13">
                  <c:v>50</c:v>
                </c:pt>
                <c:pt idx="14">
                  <c:v>50</c:v>
                </c:pt>
                <c:pt idx="15">
                  <c:v>50</c:v>
                </c:pt>
                <c:pt idx="16">
                  <c:v>50</c:v>
                </c:pt>
                <c:pt idx="17">
                  <c:v>50</c:v>
                </c:pt>
                <c:pt idx="18">
                  <c:v>50</c:v>
                </c:pt>
                <c:pt idx="19">
                  <c:v>50</c:v>
                </c:pt>
                <c:pt idx="20">
                  <c:v>50</c:v>
                </c:pt>
                <c:pt idx="21">
                  <c:v>50</c:v>
                </c:pt>
                <c:pt idx="22">
                  <c:v>50</c:v>
                </c:pt>
                <c:pt idx="23">
                  <c:v>50</c:v>
                </c:pt>
                <c:pt idx="24">
                  <c:v>50</c:v>
                </c:pt>
                <c:pt idx="25">
                  <c:v>50</c:v>
                </c:pt>
                <c:pt idx="26">
                  <c:v>50</c:v>
                </c:pt>
                <c:pt idx="27">
                  <c:v>50</c:v>
                </c:pt>
                <c:pt idx="28">
                  <c:v>50</c:v>
                </c:pt>
                <c:pt idx="29">
                  <c:v>50</c:v>
                </c:pt>
                <c:pt idx="30">
                  <c:v>50</c:v>
                </c:pt>
                <c:pt idx="31">
                  <c:v>50</c:v>
                </c:pt>
                <c:pt idx="32">
                  <c:v>50</c:v>
                </c:pt>
                <c:pt idx="33">
                  <c:v>50</c:v>
                </c:pt>
                <c:pt idx="34">
                  <c:v>50</c:v>
                </c:pt>
                <c:pt idx="35">
                  <c:v>50</c:v>
                </c:pt>
                <c:pt idx="36">
                  <c:v>50</c:v>
                </c:pt>
                <c:pt idx="37">
                  <c:v>50</c:v>
                </c:pt>
                <c:pt idx="38">
                  <c:v>50</c:v>
                </c:pt>
                <c:pt idx="39">
                  <c:v>50</c:v>
                </c:pt>
                <c:pt idx="40">
                  <c:v>50</c:v>
                </c:pt>
                <c:pt idx="41">
                  <c:v>50</c:v>
                </c:pt>
                <c:pt idx="42">
                  <c:v>50</c:v>
                </c:pt>
                <c:pt idx="43">
                  <c:v>50</c:v>
                </c:pt>
                <c:pt idx="44">
                  <c:v>50</c:v>
                </c:pt>
                <c:pt idx="45">
                  <c:v>50</c:v>
                </c:pt>
                <c:pt idx="46">
                  <c:v>50</c:v>
                </c:pt>
                <c:pt idx="47">
                  <c:v>50</c:v>
                </c:pt>
                <c:pt idx="48">
                  <c:v>50</c:v>
                </c:pt>
                <c:pt idx="49">
                  <c:v>50</c:v>
                </c:pt>
                <c:pt idx="50">
                  <c:v>50</c:v>
                </c:pt>
                <c:pt idx="51">
                  <c:v>50</c:v>
                </c:pt>
                <c:pt idx="52">
                  <c:v>50</c:v>
                </c:pt>
                <c:pt idx="53">
                  <c:v>50</c:v>
                </c:pt>
                <c:pt idx="54">
                  <c:v>50</c:v>
                </c:pt>
                <c:pt idx="55">
                  <c:v>50</c:v>
                </c:pt>
                <c:pt idx="56">
                  <c:v>50</c:v>
                </c:pt>
                <c:pt idx="57">
                  <c:v>50</c:v>
                </c:pt>
                <c:pt idx="58">
                  <c:v>50</c:v>
                </c:pt>
                <c:pt idx="59">
                  <c:v>50</c:v>
                </c:pt>
                <c:pt idx="60">
                  <c:v>50</c:v>
                </c:pt>
                <c:pt idx="61">
                  <c:v>50</c:v>
                </c:pt>
                <c:pt idx="62">
                  <c:v>50</c:v>
                </c:pt>
                <c:pt idx="63">
                  <c:v>50</c:v>
                </c:pt>
                <c:pt idx="64">
                  <c:v>50</c:v>
                </c:pt>
                <c:pt idx="65">
                  <c:v>50</c:v>
                </c:pt>
                <c:pt idx="66">
                  <c:v>50</c:v>
                </c:pt>
                <c:pt idx="67">
                  <c:v>50</c:v>
                </c:pt>
                <c:pt idx="68">
                  <c:v>50</c:v>
                </c:pt>
                <c:pt idx="69">
                  <c:v>50</c:v>
                </c:pt>
                <c:pt idx="70">
                  <c:v>50</c:v>
                </c:pt>
                <c:pt idx="71">
                  <c:v>50</c:v>
                </c:pt>
                <c:pt idx="72">
                  <c:v>50</c:v>
                </c:pt>
                <c:pt idx="73">
                  <c:v>50</c:v>
                </c:pt>
                <c:pt idx="74">
                  <c:v>50</c:v>
                </c:pt>
                <c:pt idx="75">
                  <c:v>50</c:v>
                </c:pt>
                <c:pt idx="76">
                  <c:v>50</c:v>
                </c:pt>
                <c:pt idx="77">
                  <c:v>50</c:v>
                </c:pt>
                <c:pt idx="78">
                  <c:v>50</c:v>
                </c:pt>
                <c:pt idx="79">
                  <c:v>50</c:v>
                </c:pt>
                <c:pt idx="80">
                  <c:v>50</c:v>
                </c:pt>
                <c:pt idx="81">
                  <c:v>50</c:v>
                </c:pt>
                <c:pt idx="82">
                  <c:v>50</c:v>
                </c:pt>
                <c:pt idx="83">
                  <c:v>50</c:v>
                </c:pt>
                <c:pt idx="84">
                  <c:v>50</c:v>
                </c:pt>
                <c:pt idx="85">
                  <c:v>50</c:v>
                </c:pt>
                <c:pt idx="86">
                  <c:v>50</c:v>
                </c:pt>
                <c:pt idx="87">
                  <c:v>50</c:v>
                </c:pt>
                <c:pt idx="88">
                  <c:v>50</c:v>
                </c:pt>
                <c:pt idx="89">
                  <c:v>50</c:v>
                </c:pt>
                <c:pt idx="90">
                  <c:v>50</c:v>
                </c:pt>
                <c:pt idx="91">
                  <c:v>50</c:v>
                </c:pt>
                <c:pt idx="92">
                  <c:v>50</c:v>
                </c:pt>
                <c:pt idx="93">
                  <c:v>50</c:v>
                </c:pt>
                <c:pt idx="94">
                  <c:v>50</c:v>
                </c:pt>
                <c:pt idx="95">
                  <c:v>50</c:v>
                </c:pt>
                <c:pt idx="96">
                  <c:v>50</c:v>
                </c:pt>
                <c:pt idx="97">
                  <c:v>50</c:v>
                </c:pt>
                <c:pt idx="98">
                  <c:v>50</c:v>
                </c:pt>
                <c:pt idx="99">
                  <c:v>50</c:v>
                </c:pt>
                <c:pt idx="100">
                  <c:v>50</c:v>
                </c:pt>
                <c:pt idx="101">
                  <c:v>50</c:v>
                </c:pt>
                <c:pt idx="102">
                  <c:v>50</c:v>
                </c:pt>
                <c:pt idx="103">
                  <c:v>50</c:v>
                </c:pt>
                <c:pt idx="104">
                  <c:v>50</c:v>
                </c:pt>
                <c:pt idx="105">
                  <c:v>50</c:v>
                </c:pt>
                <c:pt idx="106">
                  <c:v>50</c:v>
                </c:pt>
                <c:pt idx="107">
                  <c:v>50</c:v>
                </c:pt>
                <c:pt idx="108">
                  <c:v>50</c:v>
                </c:pt>
                <c:pt idx="109">
                  <c:v>50</c:v>
                </c:pt>
                <c:pt idx="110">
                  <c:v>50</c:v>
                </c:pt>
                <c:pt idx="111">
                  <c:v>50</c:v>
                </c:pt>
                <c:pt idx="112">
                  <c:v>50</c:v>
                </c:pt>
                <c:pt idx="113">
                  <c:v>50</c:v>
                </c:pt>
                <c:pt idx="114">
                  <c:v>50</c:v>
                </c:pt>
                <c:pt idx="115">
                  <c:v>50</c:v>
                </c:pt>
                <c:pt idx="116">
                  <c:v>50</c:v>
                </c:pt>
                <c:pt idx="117">
                  <c:v>50</c:v>
                </c:pt>
                <c:pt idx="118">
                  <c:v>50</c:v>
                </c:pt>
                <c:pt idx="119">
                  <c:v>50</c:v>
                </c:pt>
                <c:pt idx="120">
                  <c:v>50</c:v>
                </c:pt>
                <c:pt idx="121">
                  <c:v>50</c:v>
                </c:pt>
                <c:pt idx="122">
                  <c:v>50</c:v>
                </c:pt>
                <c:pt idx="123">
                  <c:v>50</c:v>
                </c:pt>
                <c:pt idx="124">
                  <c:v>50</c:v>
                </c:pt>
                <c:pt idx="125">
                  <c:v>50</c:v>
                </c:pt>
                <c:pt idx="126">
                  <c:v>50</c:v>
                </c:pt>
                <c:pt idx="127">
                  <c:v>50</c:v>
                </c:pt>
                <c:pt idx="128">
                  <c:v>50</c:v>
                </c:pt>
                <c:pt idx="129">
                  <c:v>50</c:v>
                </c:pt>
                <c:pt idx="130">
                  <c:v>50</c:v>
                </c:pt>
                <c:pt idx="131">
                  <c:v>50</c:v>
                </c:pt>
                <c:pt idx="132">
                  <c:v>50</c:v>
                </c:pt>
                <c:pt idx="133">
                  <c:v>50</c:v>
                </c:pt>
                <c:pt idx="134">
                  <c:v>50</c:v>
                </c:pt>
                <c:pt idx="135">
                  <c:v>50</c:v>
                </c:pt>
                <c:pt idx="136">
                  <c:v>50</c:v>
                </c:pt>
                <c:pt idx="137">
                  <c:v>50</c:v>
                </c:pt>
                <c:pt idx="138">
                  <c:v>50</c:v>
                </c:pt>
                <c:pt idx="139">
                  <c:v>50</c:v>
                </c:pt>
                <c:pt idx="140">
                  <c:v>50</c:v>
                </c:pt>
                <c:pt idx="141">
                  <c:v>50</c:v>
                </c:pt>
                <c:pt idx="142">
                  <c:v>50</c:v>
                </c:pt>
                <c:pt idx="143">
                  <c:v>50</c:v>
                </c:pt>
                <c:pt idx="144">
                  <c:v>50</c:v>
                </c:pt>
                <c:pt idx="145">
                  <c:v>50</c:v>
                </c:pt>
                <c:pt idx="146">
                  <c:v>50</c:v>
                </c:pt>
                <c:pt idx="147">
                  <c:v>50</c:v>
                </c:pt>
                <c:pt idx="148">
                  <c:v>50</c:v>
                </c:pt>
                <c:pt idx="149">
                  <c:v>50</c:v>
                </c:pt>
                <c:pt idx="150">
                  <c:v>50</c:v>
                </c:pt>
                <c:pt idx="151">
                  <c:v>50</c:v>
                </c:pt>
                <c:pt idx="152">
                  <c:v>50</c:v>
                </c:pt>
                <c:pt idx="153">
                  <c:v>50</c:v>
                </c:pt>
                <c:pt idx="154">
                  <c:v>50</c:v>
                </c:pt>
                <c:pt idx="155">
                  <c:v>50</c:v>
                </c:pt>
                <c:pt idx="156">
                  <c:v>50</c:v>
                </c:pt>
                <c:pt idx="157">
                  <c:v>50</c:v>
                </c:pt>
                <c:pt idx="158">
                  <c:v>50</c:v>
                </c:pt>
                <c:pt idx="159">
                  <c:v>50</c:v>
                </c:pt>
                <c:pt idx="160">
                  <c:v>50</c:v>
                </c:pt>
                <c:pt idx="161">
                  <c:v>50</c:v>
                </c:pt>
                <c:pt idx="162">
                  <c:v>50</c:v>
                </c:pt>
                <c:pt idx="163">
                  <c:v>50</c:v>
                </c:pt>
                <c:pt idx="164">
                  <c:v>50</c:v>
                </c:pt>
                <c:pt idx="165">
                  <c:v>50</c:v>
                </c:pt>
                <c:pt idx="166">
                  <c:v>50</c:v>
                </c:pt>
                <c:pt idx="167">
                  <c:v>50</c:v>
                </c:pt>
                <c:pt idx="168">
                  <c:v>50</c:v>
                </c:pt>
                <c:pt idx="169">
                  <c:v>50</c:v>
                </c:pt>
                <c:pt idx="170">
                  <c:v>50</c:v>
                </c:pt>
                <c:pt idx="171">
                  <c:v>50</c:v>
                </c:pt>
                <c:pt idx="172">
                  <c:v>50</c:v>
                </c:pt>
                <c:pt idx="173">
                  <c:v>50</c:v>
                </c:pt>
                <c:pt idx="174">
                  <c:v>50</c:v>
                </c:pt>
                <c:pt idx="175">
                  <c:v>50</c:v>
                </c:pt>
                <c:pt idx="176">
                  <c:v>50</c:v>
                </c:pt>
                <c:pt idx="177">
                  <c:v>50</c:v>
                </c:pt>
                <c:pt idx="178">
                  <c:v>50</c:v>
                </c:pt>
                <c:pt idx="179">
                  <c:v>50</c:v>
                </c:pt>
                <c:pt idx="180">
                  <c:v>50</c:v>
                </c:pt>
                <c:pt idx="181">
                  <c:v>50</c:v>
                </c:pt>
                <c:pt idx="182">
                  <c:v>50</c:v>
                </c:pt>
                <c:pt idx="183">
                  <c:v>50</c:v>
                </c:pt>
                <c:pt idx="184">
                  <c:v>50</c:v>
                </c:pt>
                <c:pt idx="185">
                  <c:v>50</c:v>
                </c:pt>
                <c:pt idx="186">
                  <c:v>50</c:v>
                </c:pt>
                <c:pt idx="187">
                  <c:v>50</c:v>
                </c:pt>
                <c:pt idx="188">
                  <c:v>50</c:v>
                </c:pt>
                <c:pt idx="189">
                  <c:v>50</c:v>
                </c:pt>
                <c:pt idx="190">
                  <c:v>50</c:v>
                </c:pt>
                <c:pt idx="191">
                  <c:v>50</c:v>
                </c:pt>
                <c:pt idx="192">
                  <c:v>50</c:v>
                </c:pt>
                <c:pt idx="193">
                  <c:v>50</c:v>
                </c:pt>
                <c:pt idx="194">
                  <c:v>50</c:v>
                </c:pt>
                <c:pt idx="195">
                  <c:v>50</c:v>
                </c:pt>
                <c:pt idx="196">
                  <c:v>50</c:v>
                </c:pt>
                <c:pt idx="197">
                  <c:v>50</c:v>
                </c:pt>
                <c:pt idx="198">
                  <c:v>50</c:v>
                </c:pt>
                <c:pt idx="199">
                  <c:v>50</c:v>
                </c:pt>
                <c:pt idx="200">
                  <c:v>50</c:v>
                </c:pt>
                <c:pt idx="201">
                  <c:v>50</c:v>
                </c:pt>
                <c:pt idx="202">
                  <c:v>50</c:v>
                </c:pt>
                <c:pt idx="203">
                  <c:v>50</c:v>
                </c:pt>
                <c:pt idx="204">
                  <c:v>50</c:v>
                </c:pt>
                <c:pt idx="205">
                  <c:v>50</c:v>
                </c:pt>
                <c:pt idx="206">
                  <c:v>50</c:v>
                </c:pt>
                <c:pt idx="207">
                  <c:v>50</c:v>
                </c:pt>
                <c:pt idx="208">
                  <c:v>50</c:v>
                </c:pt>
                <c:pt idx="209">
                  <c:v>50</c:v>
                </c:pt>
                <c:pt idx="210">
                  <c:v>50</c:v>
                </c:pt>
                <c:pt idx="211">
                  <c:v>50</c:v>
                </c:pt>
                <c:pt idx="212">
                  <c:v>50</c:v>
                </c:pt>
                <c:pt idx="213">
                  <c:v>50</c:v>
                </c:pt>
                <c:pt idx="214">
                  <c:v>50</c:v>
                </c:pt>
                <c:pt idx="215">
                  <c:v>50</c:v>
                </c:pt>
                <c:pt idx="216">
                  <c:v>50</c:v>
                </c:pt>
                <c:pt idx="217">
                  <c:v>50</c:v>
                </c:pt>
                <c:pt idx="218">
                  <c:v>50</c:v>
                </c:pt>
                <c:pt idx="219">
                  <c:v>50</c:v>
                </c:pt>
                <c:pt idx="220">
                  <c:v>50</c:v>
                </c:pt>
                <c:pt idx="221">
                  <c:v>50</c:v>
                </c:pt>
                <c:pt idx="222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4C6-4CA2-937D-BBB2646D5F6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17147840"/>
        <c:axId val="419321824"/>
      </c:areaChar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22:$A$344</c:f>
              <c:numCache>
                <c:formatCode>m/d/yyyy</c:formatCode>
                <c:ptCount val="22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  <c:pt idx="188">
                  <c:v>44536</c:v>
                </c:pt>
                <c:pt idx="189">
                  <c:v>44537</c:v>
                </c:pt>
                <c:pt idx="190">
                  <c:v>44538</c:v>
                </c:pt>
                <c:pt idx="191">
                  <c:v>44539</c:v>
                </c:pt>
                <c:pt idx="192">
                  <c:v>44540</c:v>
                </c:pt>
                <c:pt idx="193">
                  <c:v>44541</c:v>
                </c:pt>
                <c:pt idx="194">
                  <c:v>44542</c:v>
                </c:pt>
                <c:pt idx="195">
                  <c:v>44543</c:v>
                </c:pt>
                <c:pt idx="196">
                  <c:v>44544</c:v>
                </c:pt>
                <c:pt idx="197">
                  <c:v>44545</c:v>
                </c:pt>
                <c:pt idx="198">
                  <c:v>44546</c:v>
                </c:pt>
                <c:pt idx="199">
                  <c:v>44547</c:v>
                </c:pt>
                <c:pt idx="200">
                  <c:v>44548</c:v>
                </c:pt>
                <c:pt idx="201">
                  <c:v>44549</c:v>
                </c:pt>
                <c:pt idx="202">
                  <c:v>44550</c:v>
                </c:pt>
                <c:pt idx="203">
                  <c:v>44551</c:v>
                </c:pt>
                <c:pt idx="204">
                  <c:v>44552</c:v>
                </c:pt>
                <c:pt idx="205">
                  <c:v>44553</c:v>
                </c:pt>
                <c:pt idx="206">
                  <c:v>44554</c:v>
                </c:pt>
                <c:pt idx="207">
                  <c:v>44555</c:v>
                </c:pt>
                <c:pt idx="208">
                  <c:v>44556</c:v>
                </c:pt>
                <c:pt idx="209">
                  <c:v>44557</c:v>
                </c:pt>
                <c:pt idx="210">
                  <c:v>44558</c:v>
                </c:pt>
                <c:pt idx="211">
                  <c:v>44559</c:v>
                </c:pt>
                <c:pt idx="212">
                  <c:v>44560</c:v>
                </c:pt>
                <c:pt idx="213">
                  <c:v>44561</c:v>
                </c:pt>
                <c:pt idx="214">
                  <c:v>44562</c:v>
                </c:pt>
                <c:pt idx="215">
                  <c:v>44563</c:v>
                </c:pt>
                <c:pt idx="216">
                  <c:v>44564</c:v>
                </c:pt>
                <c:pt idx="217">
                  <c:v>44565</c:v>
                </c:pt>
                <c:pt idx="218">
                  <c:v>44566</c:v>
                </c:pt>
                <c:pt idx="219">
                  <c:v>44567</c:v>
                </c:pt>
                <c:pt idx="220">
                  <c:v>44568</c:v>
                </c:pt>
                <c:pt idx="221">
                  <c:v>44569</c:v>
                </c:pt>
                <c:pt idx="222">
                  <c:v>44570</c:v>
                </c:pt>
              </c:numCache>
            </c:numRef>
          </c:cat>
          <c:val>
            <c:numRef>
              <c:f>Sheet1!$B$122:$B$344</c:f>
              <c:numCache>
                <c:formatCode>0</c:formatCode>
                <c:ptCount val="223"/>
                <c:pt idx="0">
                  <c:v>26.509616113286604</c:v>
                </c:pt>
                <c:pt idx="1">
                  <c:v>24.780931241605948</c:v>
                </c:pt>
                <c:pt idx="2">
                  <c:v>24.033391837635936</c:v>
                </c:pt>
                <c:pt idx="3">
                  <c:v>22.790607578535788</c:v>
                </c:pt>
                <c:pt idx="4">
                  <c:v>22.145854842611651</c:v>
                </c:pt>
                <c:pt idx="5">
                  <c:v>22.015035446916901</c:v>
                </c:pt>
                <c:pt idx="6">
                  <c:v>19.977990571098612</c:v>
                </c:pt>
                <c:pt idx="7">
                  <c:v>19.080943286334598</c:v>
                </c:pt>
                <c:pt idx="8">
                  <c:v>18.127830546272829</c:v>
                </c:pt>
                <c:pt idx="9">
                  <c:v>15.90390081946204</c:v>
                </c:pt>
                <c:pt idx="10">
                  <c:v>14.558329892316014</c:v>
                </c:pt>
                <c:pt idx="11">
                  <c:v>13.848167458544502</c:v>
                </c:pt>
                <c:pt idx="12">
                  <c:v>13.315545633215867</c:v>
                </c:pt>
                <c:pt idx="13">
                  <c:v>12.175548042161596</c:v>
                </c:pt>
                <c:pt idx="14">
                  <c:v>10.530961353427566</c:v>
                </c:pt>
                <c:pt idx="15">
                  <c:v>9.3816195198236709</c:v>
                </c:pt>
                <c:pt idx="16">
                  <c:v>9.0919480007852904</c:v>
                </c:pt>
                <c:pt idx="17">
                  <c:v>8.7648995115484087</c:v>
                </c:pt>
                <c:pt idx="18">
                  <c:v>8.6340801158536564</c:v>
                </c:pt>
                <c:pt idx="19">
                  <c:v>8.7742437540980358</c:v>
                </c:pt>
                <c:pt idx="20">
                  <c:v>8.2416219287693995</c:v>
                </c:pt>
                <c:pt idx="21">
                  <c:v>7.3445746440053838</c:v>
                </c:pt>
                <c:pt idx="22">
                  <c:v>7.1296570653640039</c:v>
                </c:pt>
                <c:pt idx="23">
                  <c:v>6.5596582698368699</c:v>
                </c:pt>
                <c:pt idx="24">
                  <c:v>6.438183116691742</c:v>
                </c:pt>
                <c:pt idx="25">
                  <c:v>6.4849043294398685</c:v>
                </c:pt>
                <c:pt idx="26">
                  <c:v>6.4942485719894929</c:v>
                </c:pt>
                <c:pt idx="27">
                  <c:v>6.802608576127124</c:v>
                </c:pt>
                <c:pt idx="28">
                  <c:v>7.2137552483106306</c:v>
                </c:pt>
                <c:pt idx="29">
                  <c:v>7.503426767349012</c:v>
                </c:pt>
                <c:pt idx="30">
                  <c:v>8.1481795032731483</c:v>
                </c:pt>
                <c:pt idx="31">
                  <c:v>8.4658837499604047</c:v>
                </c:pt>
                <c:pt idx="32">
                  <c:v>9.0078498178386628</c:v>
                </c:pt>
                <c:pt idx="33">
                  <c:v>9.4844061878695474</c:v>
                </c:pt>
                <c:pt idx="34">
                  <c:v>9.2788328517777927</c:v>
                </c:pt>
                <c:pt idx="35">
                  <c:v>8.8396534519454093</c:v>
                </c:pt>
                <c:pt idx="36">
                  <c:v>10.17588013654181</c:v>
                </c:pt>
                <c:pt idx="37">
                  <c:v>10.951452268160699</c:v>
                </c:pt>
                <c:pt idx="38">
                  <c:v>12.063417131566094</c:v>
                </c:pt>
                <c:pt idx="39">
                  <c:v>12.353088650604473</c:v>
                </c:pt>
                <c:pt idx="40">
                  <c:v>12.717514110039856</c:v>
                </c:pt>
                <c:pt idx="41">
                  <c:v>13.782757760697127</c:v>
                </c:pt>
                <c:pt idx="42">
                  <c:v>15.76373718121766</c:v>
                </c:pt>
                <c:pt idx="43">
                  <c:v>15.586196572774783</c:v>
                </c:pt>
                <c:pt idx="44">
                  <c:v>15.371278994133405</c:v>
                </c:pt>
                <c:pt idx="45">
                  <c:v>14.978820807049148</c:v>
                </c:pt>
                <c:pt idx="46">
                  <c:v>15.352590509034155</c:v>
                </c:pt>
                <c:pt idx="47">
                  <c:v>15.053574747446149</c:v>
                </c:pt>
                <c:pt idx="48">
                  <c:v>14.81996868370552</c:v>
                </c:pt>
                <c:pt idx="49">
                  <c:v>14.614395347613764</c:v>
                </c:pt>
                <c:pt idx="50">
                  <c:v>14.343412313674635</c:v>
                </c:pt>
                <c:pt idx="51">
                  <c:v>14.091117764834754</c:v>
                </c:pt>
                <c:pt idx="52">
                  <c:v>13.586528667154996</c:v>
                </c:pt>
                <c:pt idx="53">
                  <c:v>12.923087446131611</c:v>
                </c:pt>
                <c:pt idx="54">
                  <c:v>12.596038956894731</c:v>
                </c:pt>
                <c:pt idx="55">
                  <c:v>12.399809863352599</c:v>
                </c:pt>
                <c:pt idx="56">
                  <c:v>11.988663191169092</c:v>
                </c:pt>
                <c:pt idx="57">
                  <c:v>11.614893489184086</c:v>
                </c:pt>
                <c:pt idx="58">
                  <c:v>11.670958944481836</c:v>
                </c:pt>
                <c:pt idx="59">
                  <c:v>11.194402574450953</c:v>
                </c:pt>
                <c:pt idx="60">
                  <c:v>11.100960148954702</c:v>
                </c:pt>
                <c:pt idx="61">
                  <c:v>11.0635831787562</c:v>
                </c:pt>
                <c:pt idx="62">
                  <c:v>10.633748021473442</c:v>
                </c:pt>
                <c:pt idx="63">
                  <c:v>10.465551655580189</c:v>
                </c:pt>
                <c:pt idx="64">
                  <c:v>10.605715293824568</c:v>
                </c:pt>
                <c:pt idx="65">
                  <c:v>10.21325710674031</c:v>
                </c:pt>
                <c:pt idx="66">
                  <c:v>10.558994081076442</c:v>
                </c:pt>
                <c:pt idx="67">
                  <c:v>10.914075297962199</c:v>
                </c:pt>
                <c:pt idx="68">
                  <c:v>11.194402574450953</c:v>
                </c:pt>
                <c:pt idx="69">
                  <c:v>11.381287425443457</c:v>
                </c:pt>
                <c:pt idx="70">
                  <c:v>11.58686076153521</c:v>
                </c:pt>
                <c:pt idx="71">
                  <c:v>11.689647429581088</c:v>
                </c:pt>
                <c:pt idx="72">
                  <c:v>11.932597735871342</c:v>
                </c:pt>
                <c:pt idx="73">
                  <c:v>12.34374440805485</c:v>
                </c:pt>
                <c:pt idx="74">
                  <c:v>12.231613497459346</c:v>
                </c:pt>
                <c:pt idx="75">
                  <c:v>11.951286220970593</c:v>
                </c:pt>
                <c:pt idx="76">
                  <c:v>12.353088650604473</c:v>
                </c:pt>
                <c:pt idx="77">
                  <c:v>12.726858352589479</c:v>
                </c:pt>
                <c:pt idx="78">
                  <c:v>12.624071684543605</c:v>
                </c:pt>
                <c:pt idx="79">
                  <c:v>12.399809863352599</c:v>
                </c:pt>
                <c:pt idx="80">
                  <c:v>11.951286220970593</c:v>
                </c:pt>
                <c:pt idx="81">
                  <c:v>11.87653228057359</c:v>
                </c:pt>
                <c:pt idx="82">
                  <c:v>12.156859557062345</c:v>
                </c:pt>
                <c:pt idx="83">
                  <c:v>12.128826829413471</c:v>
                </c:pt>
                <c:pt idx="84">
                  <c:v>11.652270459382587</c:v>
                </c:pt>
                <c:pt idx="85">
                  <c:v>12.007351676268343</c:v>
                </c:pt>
                <c:pt idx="86">
                  <c:v>12.446531076100726</c:v>
                </c:pt>
                <c:pt idx="87">
                  <c:v>12.558661986696228</c:v>
                </c:pt>
                <c:pt idx="88">
                  <c:v>12.549317744146602</c:v>
                </c:pt>
                <c:pt idx="89">
                  <c:v>12.306367437856348</c:v>
                </c:pt>
                <c:pt idx="90">
                  <c:v>12.57735047179548</c:v>
                </c:pt>
                <c:pt idx="91">
                  <c:v>12.969808658879737</c:v>
                </c:pt>
                <c:pt idx="92">
                  <c:v>13.11931653967374</c:v>
                </c:pt>
                <c:pt idx="93">
                  <c:v>13.98833109678888</c:v>
                </c:pt>
                <c:pt idx="94">
                  <c:v>15.156361415492027</c:v>
                </c:pt>
                <c:pt idx="95">
                  <c:v>15.84783536416429</c:v>
                </c:pt>
                <c:pt idx="96">
                  <c:v>16.399145674592173</c:v>
                </c:pt>
                <c:pt idx="97">
                  <c:v>17.8194705421352</c:v>
                </c:pt>
                <c:pt idx="98">
                  <c:v>20.54798936662575</c:v>
                </c:pt>
                <c:pt idx="99">
                  <c:v>21.66929847258077</c:v>
                </c:pt>
                <c:pt idx="100">
                  <c:v>22.73454212323804</c:v>
                </c:pt>
                <c:pt idx="101">
                  <c:v>24.005359109987062</c:v>
                </c:pt>
                <c:pt idx="102">
                  <c:v>24.407161539620944</c:v>
                </c:pt>
                <c:pt idx="103">
                  <c:v>24.369784569422443</c:v>
                </c:pt>
                <c:pt idx="104">
                  <c:v>25.313553066934585</c:v>
                </c:pt>
                <c:pt idx="105">
                  <c:v>25.070602760644331</c:v>
                </c:pt>
                <c:pt idx="106">
                  <c:v>26.388140960141477</c:v>
                </c:pt>
                <c:pt idx="107">
                  <c:v>27.715023402188255</c:v>
                </c:pt>
                <c:pt idx="108">
                  <c:v>27.715023402188255</c:v>
                </c:pt>
                <c:pt idx="109">
                  <c:v>28.200924014768759</c:v>
                </c:pt>
                <c:pt idx="110">
                  <c:v>28.677480384799647</c:v>
                </c:pt>
                <c:pt idx="111">
                  <c:v>28.556005231654517</c:v>
                </c:pt>
                <c:pt idx="112">
                  <c:v>28.920430691089901</c:v>
                </c:pt>
                <c:pt idx="113">
                  <c:v>28.920430691089901</c:v>
                </c:pt>
                <c:pt idx="114">
                  <c:v>28.191579772219136</c:v>
                </c:pt>
                <c:pt idx="115">
                  <c:v>28.873709478341773</c:v>
                </c:pt>
                <c:pt idx="116">
                  <c:v>29.920264643899792</c:v>
                </c:pt>
                <c:pt idx="117">
                  <c:v>30.50895192452618</c:v>
                </c:pt>
                <c:pt idx="118">
                  <c:v>32.312390736603838</c:v>
                </c:pt>
                <c:pt idx="119">
                  <c:v>31.172393145549567</c:v>
                </c:pt>
                <c:pt idx="120">
                  <c:v>33.13468408097085</c:v>
                </c:pt>
                <c:pt idx="121">
                  <c:v>37.218118075157051</c:v>
                </c:pt>
                <c:pt idx="122">
                  <c:v>40.124177508090476</c:v>
                </c:pt>
                <c:pt idx="123">
                  <c:v>41.413682979938756</c:v>
                </c:pt>
                <c:pt idx="124">
                  <c:v>42.049091473313261</c:v>
                </c:pt>
                <c:pt idx="125">
                  <c:v>43.291875732413416</c:v>
                </c:pt>
                <c:pt idx="126">
                  <c:v>49.272190964173518</c:v>
                </c:pt>
                <c:pt idx="127">
                  <c:v>52.215627367305444</c:v>
                </c:pt>
                <c:pt idx="128">
                  <c:v>52.879068588328835</c:v>
                </c:pt>
                <c:pt idx="129">
                  <c:v>54.654474672757622</c:v>
                </c:pt>
                <c:pt idx="130">
                  <c:v>55.729062565964504</c:v>
                </c:pt>
                <c:pt idx="131">
                  <c:v>55.89725893185777</c:v>
                </c:pt>
                <c:pt idx="132">
                  <c:v>60.91511718100648</c:v>
                </c:pt>
                <c:pt idx="133">
                  <c:v>64.587404503009168</c:v>
                </c:pt>
                <c:pt idx="134">
                  <c:v>68.801657892890134</c:v>
                </c:pt>
                <c:pt idx="135">
                  <c:v>73.9129585675351</c:v>
                </c:pt>
                <c:pt idx="136">
                  <c:v>81.051959875448716</c:v>
                </c:pt>
                <c:pt idx="137">
                  <c:v>85.63998296731468</c:v>
                </c:pt>
                <c:pt idx="138">
                  <c:v>89.928990297592634</c:v>
                </c:pt>
                <c:pt idx="139">
                  <c:v>101.06732741674584</c:v>
                </c:pt>
                <c:pt idx="140">
                  <c:v>117.34499793819289</c:v>
                </c:pt>
                <c:pt idx="141">
                  <c:v>133.97774967652569</c:v>
                </c:pt>
                <c:pt idx="142">
                  <c:v>153.64738024348665</c:v>
                </c:pt>
                <c:pt idx="143">
                  <c:v>176.60618418791572</c:v>
                </c:pt>
                <c:pt idx="144">
                  <c:v>191.53828378221672</c:v>
                </c:pt>
                <c:pt idx="145">
                  <c:v>201.28432876147579</c:v>
                </c:pt>
                <c:pt idx="146">
                  <c:v>217.63675322331983</c:v>
                </c:pt>
                <c:pt idx="147">
                  <c:v>246.04325057418032</c:v>
                </c:pt>
                <c:pt idx="148">
                  <c:v>270.19811756496142</c:v>
                </c:pt>
                <c:pt idx="149">
                  <c:v>276.8512182602945</c:v>
                </c:pt>
                <c:pt idx="150">
                  <c:v>291.00774572297667</c:v>
                </c:pt>
                <c:pt idx="151">
                  <c:v>312.51819207221382</c:v>
                </c:pt>
                <c:pt idx="152">
                  <c:v>321.38587825180809</c:v>
                </c:pt>
                <c:pt idx="153">
                  <c:v>352.44614048676215</c:v>
                </c:pt>
                <c:pt idx="154">
                  <c:v>386.46852760994739</c:v>
                </c:pt>
                <c:pt idx="155">
                  <c:v>420.24796442684237</c:v>
                </c:pt>
                <c:pt idx="156">
                  <c:v>458.72755524619885</c:v>
                </c:pt>
                <c:pt idx="157">
                  <c:v>491.38568295713878</c:v>
                </c:pt>
                <c:pt idx="158">
                  <c:v>497.76780061853276</c:v>
                </c:pt>
                <c:pt idx="159">
                  <c:v>499.85156670709927</c:v>
                </c:pt>
                <c:pt idx="160">
                  <c:v>515.50317297772131</c:v>
                </c:pt>
                <c:pt idx="161">
                  <c:v>558.86980265053171</c:v>
                </c:pt>
                <c:pt idx="162">
                  <c:v>596.88218134240697</c:v>
                </c:pt>
                <c:pt idx="163">
                  <c:v>615.24361795242044</c:v>
                </c:pt>
                <c:pt idx="164">
                  <c:v>661.93679797289747</c:v>
                </c:pt>
                <c:pt idx="165">
                  <c:v>694.0623038585087</c:v>
                </c:pt>
                <c:pt idx="166">
                  <c:v>719.00208722345837</c:v>
                </c:pt>
                <c:pt idx="167">
                  <c:v>740.14810811326004</c:v>
                </c:pt>
                <c:pt idx="168">
                  <c:v>814.44418062532975</c:v>
                </c:pt>
                <c:pt idx="169">
                  <c:v>820.15351282315078</c:v>
                </c:pt>
                <c:pt idx="170">
                  <c:v>848.2329616847743</c:v>
                </c:pt>
                <c:pt idx="171">
                  <c:v>929.70541247495623</c:v>
                </c:pt>
                <c:pt idx="172">
                  <c:v>978.59448949459522</c:v>
                </c:pt>
                <c:pt idx="173">
                  <c:v>1002.7213237577274</c:v>
                </c:pt>
                <c:pt idx="174">
                  <c:v>1030.3148720067704</c:v>
                </c:pt>
                <c:pt idx="175">
                  <c:v>1061.7956251564576</c:v>
                </c:pt>
                <c:pt idx="176">
                  <c:v>1097.9952207937056</c:v>
                </c:pt>
                <c:pt idx="177">
                  <c:v>1233.3091971548276</c:v>
                </c:pt>
                <c:pt idx="178">
                  <c:v>1208.9954780407029</c:v>
                </c:pt>
                <c:pt idx="179">
                  <c:v>1191.3628923495603</c:v>
                </c:pt>
                <c:pt idx="180">
                  <c:v>1201.0809046011705</c:v>
                </c:pt>
                <c:pt idx="181">
                  <c:v>1230.0760892326573</c:v>
                </c:pt>
                <c:pt idx="182">
                  <c:v>1193.6709202593177</c:v>
                </c:pt>
                <c:pt idx="183">
                  <c:v>1222.6941376184534</c:v>
                </c:pt>
                <c:pt idx="184">
                  <c:v>1135.5310431155499</c:v>
                </c:pt>
                <c:pt idx="185">
                  <c:v>1110.3389652017604</c:v>
                </c:pt>
                <c:pt idx="186">
                  <c:v>1095.8834219774901</c:v>
                </c:pt>
                <c:pt idx="187">
                  <c:v>1068.1216773625538</c:v>
                </c:pt>
                <c:pt idx="188">
                  <c:v>1048.872537710326</c:v>
                </c:pt>
                <c:pt idx="189">
                  <c:v>1025.3904561831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4C6-4CA2-937D-BBB2646D5F6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44</c:f>
              <c:numCache>
                <c:formatCode>m/d/yyyy</c:formatCode>
                <c:ptCount val="22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  <c:pt idx="188">
                  <c:v>44536</c:v>
                </c:pt>
                <c:pt idx="189">
                  <c:v>44537</c:v>
                </c:pt>
                <c:pt idx="190">
                  <c:v>44538</c:v>
                </c:pt>
                <c:pt idx="191">
                  <c:v>44539</c:v>
                </c:pt>
                <c:pt idx="192">
                  <c:v>44540</c:v>
                </c:pt>
                <c:pt idx="193">
                  <c:v>44541</c:v>
                </c:pt>
                <c:pt idx="194">
                  <c:v>44542</c:v>
                </c:pt>
                <c:pt idx="195">
                  <c:v>44543</c:v>
                </c:pt>
                <c:pt idx="196">
                  <c:v>44544</c:v>
                </c:pt>
                <c:pt idx="197">
                  <c:v>44545</c:v>
                </c:pt>
                <c:pt idx="198">
                  <c:v>44546</c:v>
                </c:pt>
                <c:pt idx="199">
                  <c:v>44547</c:v>
                </c:pt>
                <c:pt idx="200">
                  <c:v>44548</c:v>
                </c:pt>
                <c:pt idx="201">
                  <c:v>44549</c:v>
                </c:pt>
                <c:pt idx="202">
                  <c:v>44550</c:v>
                </c:pt>
                <c:pt idx="203">
                  <c:v>44551</c:v>
                </c:pt>
                <c:pt idx="204">
                  <c:v>44552</c:v>
                </c:pt>
                <c:pt idx="205">
                  <c:v>44553</c:v>
                </c:pt>
                <c:pt idx="206">
                  <c:v>44554</c:v>
                </c:pt>
                <c:pt idx="207">
                  <c:v>44555</c:v>
                </c:pt>
                <c:pt idx="208">
                  <c:v>44556</c:v>
                </c:pt>
                <c:pt idx="209">
                  <c:v>44557</c:v>
                </c:pt>
                <c:pt idx="210">
                  <c:v>44558</c:v>
                </c:pt>
                <c:pt idx="211">
                  <c:v>44559</c:v>
                </c:pt>
                <c:pt idx="212">
                  <c:v>44560</c:v>
                </c:pt>
                <c:pt idx="213">
                  <c:v>44561</c:v>
                </c:pt>
                <c:pt idx="214">
                  <c:v>44562</c:v>
                </c:pt>
                <c:pt idx="215">
                  <c:v>44563</c:v>
                </c:pt>
                <c:pt idx="216">
                  <c:v>44564</c:v>
                </c:pt>
                <c:pt idx="217">
                  <c:v>44565</c:v>
                </c:pt>
                <c:pt idx="218">
                  <c:v>44566</c:v>
                </c:pt>
                <c:pt idx="219">
                  <c:v>44567</c:v>
                </c:pt>
                <c:pt idx="220">
                  <c:v>44568</c:v>
                </c:pt>
                <c:pt idx="221">
                  <c:v>44569</c:v>
                </c:pt>
                <c:pt idx="222">
                  <c:v>44570</c:v>
                </c:pt>
              </c:numCache>
            </c:numRef>
          </c:cat>
          <c:val>
            <c:numRef>
              <c:f>Sheet1!$C$122:$C$344</c:f>
              <c:numCache>
                <c:formatCode>General</c:formatCode>
                <c:ptCount val="223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D4C6-4CA2-937D-BBB2646D5F64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0,75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44</c:f>
              <c:numCache>
                <c:formatCode>m/d/yyyy</c:formatCode>
                <c:ptCount val="22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  <c:pt idx="188">
                  <c:v>44536</c:v>
                </c:pt>
                <c:pt idx="189">
                  <c:v>44537</c:v>
                </c:pt>
                <c:pt idx="190">
                  <c:v>44538</c:v>
                </c:pt>
                <c:pt idx="191">
                  <c:v>44539</c:v>
                </c:pt>
                <c:pt idx="192">
                  <c:v>44540</c:v>
                </c:pt>
                <c:pt idx="193">
                  <c:v>44541</c:v>
                </c:pt>
                <c:pt idx="194">
                  <c:v>44542</c:v>
                </c:pt>
                <c:pt idx="195">
                  <c:v>44543</c:v>
                </c:pt>
                <c:pt idx="196">
                  <c:v>44544</c:v>
                </c:pt>
                <c:pt idx="197">
                  <c:v>44545</c:v>
                </c:pt>
                <c:pt idx="198">
                  <c:v>44546</c:v>
                </c:pt>
                <c:pt idx="199">
                  <c:v>44547</c:v>
                </c:pt>
                <c:pt idx="200">
                  <c:v>44548</c:v>
                </c:pt>
                <c:pt idx="201">
                  <c:v>44549</c:v>
                </c:pt>
                <c:pt idx="202">
                  <c:v>44550</c:v>
                </c:pt>
                <c:pt idx="203">
                  <c:v>44551</c:v>
                </c:pt>
                <c:pt idx="204">
                  <c:v>44552</c:v>
                </c:pt>
                <c:pt idx="205">
                  <c:v>44553</c:v>
                </c:pt>
                <c:pt idx="206">
                  <c:v>44554</c:v>
                </c:pt>
                <c:pt idx="207">
                  <c:v>44555</c:v>
                </c:pt>
                <c:pt idx="208">
                  <c:v>44556</c:v>
                </c:pt>
                <c:pt idx="209">
                  <c:v>44557</c:v>
                </c:pt>
                <c:pt idx="210">
                  <c:v>44558</c:v>
                </c:pt>
                <c:pt idx="211">
                  <c:v>44559</c:v>
                </c:pt>
                <c:pt idx="212">
                  <c:v>44560</c:v>
                </c:pt>
                <c:pt idx="213">
                  <c:v>44561</c:v>
                </c:pt>
                <c:pt idx="214">
                  <c:v>44562</c:v>
                </c:pt>
                <c:pt idx="215">
                  <c:v>44563</c:v>
                </c:pt>
                <c:pt idx="216">
                  <c:v>44564</c:v>
                </c:pt>
                <c:pt idx="217">
                  <c:v>44565</c:v>
                </c:pt>
                <c:pt idx="218">
                  <c:v>44566</c:v>
                </c:pt>
                <c:pt idx="219">
                  <c:v>44567</c:v>
                </c:pt>
                <c:pt idx="220">
                  <c:v>44568</c:v>
                </c:pt>
                <c:pt idx="221">
                  <c:v>44569</c:v>
                </c:pt>
                <c:pt idx="222">
                  <c:v>44570</c:v>
                </c:pt>
              </c:numCache>
            </c:numRef>
          </c:cat>
          <c:val>
            <c:numRef>
              <c:f>Sheet1!$D$122:$D$344</c:f>
              <c:numCache>
                <c:formatCode>General</c:formatCode>
                <c:ptCount val="223"/>
                <c:pt idx="185" formatCode="0">
                  <c:v>1166.6659029932464</c:v>
                </c:pt>
                <c:pt idx="186" formatCode="0">
                  <c:v>1152.0456624883623</c:v>
                </c:pt>
                <c:pt idx="187" formatCode="0">
                  <c:v>1135.155501504423</c:v>
                </c:pt>
                <c:pt idx="188" formatCode="0">
                  <c:v>1118.8104468720844</c:v>
                </c:pt>
                <c:pt idx="189" formatCode="0">
                  <c:v>1103.7183232568591</c:v>
                </c:pt>
                <c:pt idx="190" formatCode="0">
                  <c:v>1085.9982988719744</c:v>
                </c:pt>
                <c:pt idx="191" formatCode="0">
                  <c:v>1064.0801419881916</c:v>
                </c:pt>
                <c:pt idx="192" formatCode="0">
                  <c:v>1043.76476049643</c:v>
                </c:pt>
                <c:pt idx="193" formatCode="0">
                  <c:v>1025.2474163733825</c:v>
                </c:pt>
                <c:pt idx="194" formatCode="0">
                  <c:v>1007.8772363634062</c:v>
                </c:pt>
                <c:pt idx="195" formatCode="0">
                  <c:v>990.43383311216996</c:v>
                </c:pt>
                <c:pt idx="196" formatCode="0">
                  <c:v>972.70567281158992</c:v>
                </c:pt>
                <c:pt idx="197" formatCode="0">
                  <c:v>954.57071672623283</c:v>
                </c:pt>
                <c:pt idx="198" formatCode="0">
                  <c:v>936.71238177452415</c:v>
                </c:pt>
                <c:pt idx="199" formatCode="0">
                  <c:v>919.98493910449542</c:v>
                </c:pt>
                <c:pt idx="200" formatCode="0">
                  <c:v>903.90023377441423</c:v>
                </c:pt>
                <c:pt idx="201" formatCode="0">
                  <c:v>887.94570309546157</c:v>
                </c:pt>
                <c:pt idx="202" formatCode="0">
                  <c:v>871.90167734385795</c:v>
                </c:pt>
                <c:pt idx="203" formatCode="0">
                  <c:v>856.03664173755647</c:v>
                </c:pt>
                <c:pt idx="204" formatCode="0">
                  <c:v>840.53772233755421</c:v>
                </c:pt>
                <c:pt idx="205" formatCode="0">
                  <c:v>825.5432297106754</c:v>
                </c:pt>
                <c:pt idx="206" formatCode="0">
                  <c:v>810.95553286857353</c:v>
                </c:pt>
                <c:pt idx="207" formatCode="0">
                  <c:v>796.56309800316444</c:v>
                </c:pt>
                <c:pt idx="208" formatCode="0">
                  <c:v>782.30083778888411</c:v>
                </c:pt>
                <c:pt idx="209" formatCode="0">
                  <c:v>768.25824729838337</c:v>
                </c:pt>
                <c:pt idx="210" formatCode="0">
                  <c:v>754.5492293513995</c:v>
                </c:pt>
                <c:pt idx="211" formatCode="0">
                  <c:v>741.17378394793298</c:v>
                </c:pt>
                <c:pt idx="212" formatCode="0">
                  <c:v>728.06682376241929</c:v>
                </c:pt>
                <c:pt idx="213" formatCode="0">
                  <c:v>715.17139738498952</c:v>
                </c:pt>
                <c:pt idx="214" formatCode="0">
                  <c:v>702.47936889994821</c:v>
                </c:pt>
                <c:pt idx="215" formatCode="0">
                  <c:v>690.01514605438206</c:v>
                </c:pt>
                <c:pt idx="216" formatCode="0">
                  <c:v>677.81940842676863</c:v>
                </c:pt>
                <c:pt idx="217" formatCode="0">
                  <c:v>665.86774827002148</c:v>
                </c:pt>
                <c:pt idx="218" formatCode="0">
                  <c:v>654.15202966844492</c:v>
                </c:pt>
                <c:pt idx="219" formatCode="0">
                  <c:v>642.64784487495228</c:v>
                </c:pt>
                <c:pt idx="220" formatCode="0">
                  <c:v>631.34705797384822</c:v>
                </c:pt>
                <c:pt idx="221" formatCode="0">
                  <c:v>620.25780488082819</c:v>
                </c:pt>
                <c:pt idx="222" formatCode="0">
                  <c:v>609.3882215115877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D4C6-4CA2-937D-BBB2646D5F64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0,85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44</c:f>
              <c:numCache>
                <c:formatCode>m/d/yyyy</c:formatCode>
                <c:ptCount val="22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  <c:pt idx="188">
                  <c:v>44536</c:v>
                </c:pt>
                <c:pt idx="189">
                  <c:v>44537</c:v>
                </c:pt>
                <c:pt idx="190">
                  <c:v>44538</c:v>
                </c:pt>
                <c:pt idx="191">
                  <c:v>44539</c:v>
                </c:pt>
                <c:pt idx="192">
                  <c:v>44540</c:v>
                </c:pt>
                <c:pt idx="193">
                  <c:v>44541</c:v>
                </c:pt>
                <c:pt idx="194">
                  <c:v>44542</c:v>
                </c:pt>
                <c:pt idx="195">
                  <c:v>44543</c:v>
                </c:pt>
                <c:pt idx="196">
                  <c:v>44544</c:v>
                </c:pt>
                <c:pt idx="197">
                  <c:v>44545</c:v>
                </c:pt>
                <c:pt idx="198">
                  <c:v>44546</c:v>
                </c:pt>
                <c:pt idx="199">
                  <c:v>44547</c:v>
                </c:pt>
                <c:pt idx="200">
                  <c:v>44548</c:v>
                </c:pt>
                <c:pt idx="201">
                  <c:v>44549</c:v>
                </c:pt>
                <c:pt idx="202">
                  <c:v>44550</c:v>
                </c:pt>
                <c:pt idx="203">
                  <c:v>44551</c:v>
                </c:pt>
                <c:pt idx="204">
                  <c:v>44552</c:v>
                </c:pt>
                <c:pt idx="205">
                  <c:v>44553</c:v>
                </c:pt>
                <c:pt idx="206">
                  <c:v>44554</c:v>
                </c:pt>
                <c:pt idx="207">
                  <c:v>44555</c:v>
                </c:pt>
                <c:pt idx="208">
                  <c:v>44556</c:v>
                </c:pt>
                <c:pt idx="209">
                  <c:v>44557</c:v>
                </c:pt>
                <c:pt idx="210">
                  <c:v>44558</c:v>
                </c:pt>
                <c:pt idx="211">
                  <c:v>44559</c:v>
                </c:pt>
                <c:pt idx="212">
                  <c:v>44560</c:v>
                </c:pt>
                <c:pt idx="213">
                  <c:v>44561</c:v>
                </c:pt>
                <c:pt idx="214">
                  <c:v>44562</c:v>
                </c:pt>
                <c:pt idx="215">
                  <c:v>44563</c:v>
                </c:pt>
                <c:pt idx="216">
                  <c:v>44564</c:v>
                </c:pt>
                <c:pt idx="217">
                  <c:v>44565</c:v>
                </c:pt>
                <c:pt idx="218">
                  <c:v>44566</c:v>
                </c:pt>
                <c:pt idx="219">
                  <c:v>44567</c:v>
                </c:pt>
                <c:pt idx="220">
                  <c:v>44568</c:v>
                </c:pt>
                <c:pt idx="221">
                  <c:v>44569</c:v>
                </c:pt>
                <c:pt idx="222">
                  <c:v>44570</c:v>
                </c:pt>
              </c:numCache>
            </c:numRef>
          </c:cat>
          <c:val>
            <c:numRef>
              <c:f>Sheet1!$E$122:$E$344</c:f>
              <c:numCache>
                <c:formatCode>General</c:formatCode>
                <c:ptCount val="223"/>
                <c:pt idx="185" formatCode="0">
                  <c:v>1170.2701136463702</c:v>
                </c:pt>
                <c:pt idx="186" formatCode="0">
                  <c:v>1161.2473831400173</c:v>
                </c:pt>
                <c:pt idx="187" formatCode="0">
                  <c:v>1151.0774885205931</c:v>
                </c:pt>
                <c:pt idx="188" formatCode="0">
                  <c:v>1142.0954375927176</c:v>
                </c:pt>
                <c:pt idx="189" formatCode="0">
                  <c:v>1135.5378895421131</c:v>
                </c:pt>
                <c:pt idx="190" formatCode="0">
                  <c:v>1127.8169055470464</c:v>
                </c:pt>
                <c:pt idx="191" formatCode="0">
                  <c:v>1117.476156698016</c:v>
                </c:pt>
                <c:pt idx="192" formatCode="0">
                  <c:v>1106.7692916426861</c:v>
                </c:pt>
                <c:pt idx="193" formatCode="0">
                  <c:v>1096.9248336510836</c:v>
                </c:pt>
                <c:pt idx="194" formatCode="0">
                  <c:v>1088.0648214586415</c:v>
                </c:pt>
                <c:pt idx="195" formatCode="0">
                  <c:v>1079.5465177254118</c:v>
                </c:pt>
                <c:pt idx="196" formatCode="0">
                  <c:v>1070.8410879311848</c:v>
                </c:pt>
                <c:pt idx="197" formatCode="0">
                  <c:v>1061.4929207970101</c:v>
                </c:pt>
                <c:pt idx="198" formatCode="0">
                  <c:v>1051.9494916861427</c:v>
                </c:pt>
                <c:pt idx="199" formatCode="0">
                  <c:v>1042.8860816013118</c:v>
                </c:pt>
                <c:pt idx="200" formatCode="0">
                  <c:v>1034.318962373909</c:v>
                </c:pt>
                <c:pt idx="201" formatCode="0">
                  <c:v>1025.873881881939</c:v>
                </c:pt>
                <c:pt idx="202" formatCode="0">
                  <c:v>1017.2823549074495</c:v>
                </c:pt>
                <c:pt idx="203" formatCode="0">
                  <c:v>1008.5687891975271</c:v>
                </c:pt>
                <c:pt idx="204" formatCode="0">
                  <c:v>999.87963123469115</c:v>
                </c:pt>
                <c:pt idx="205" formatCode="0">
                  <c:v>991.41827891133028</c:v>
                </c:pt>
                <c:pt idx="206" formatCode="0">
                  <c:v>983.18473222744444</c:v>
                </c:pt>
                <c:pt idx="207" formatCode="0">
                  <c:v>975.04068061620967</c:v>
                </c:pt>
                <c:pt idx="208" formatCode="0">
                  <c:v>966.87222125788821</c:v>
                </c:pt>
                <c:pt idx="209" formatCode="0">
                  <c:v>958.68749006817575</c:v>
                </c:pt>
                <c:pt idx="210" formatCode="0">
                  <c:v>950.58411803541878</c:v>
                </c:pt>
                <c:pt idx="211" formatCode="0">
                  <c:v>942.62719248518113</c:v>
                </c:pt>
                <c:pt idx="212" formatCode="0">
                  <c:v>934.7841697546811</c:v>
                </c:pt>
                <c:pt idx="213" formatCode="0">
                  <c:v>927.00623434974568</c:v>
                </c:pt>
                <c:pt idx="214" formatCode="0">
                  <c:v>919.26084260759239</c:v>
                </c:pt>
                <c:pt idx="215" formatCode="0">
                  <c:v>911.56426635961213</c:v>
                </c:pt>
                <c:pt idx="216" formatCode="0">
                  <c:v>903.9490492685876</c:v>
                </c:pt>
                <c:pt idx="217" formatCode="0">
                  <c:v>896.43146316590901</c:v>
                </c:pt>
                <c:pt idx="218" formatCode="0">
                  <c:v>888.99523622018614</c:v>
                </c:pt>
                <c:pt idx="219" formatCode="0">
                  <c:v>881.61596068433209</c:v>
                </c:pt>
                <c:pt idx="220" formatCode="0">
                  <c:v>874.29363655834675</c:v>
                </c:pt>
                <c:pt idx="221" formatCode="0">
                  <c:v>867.03639975792578</c:v>
                </c:pt>
                <c:pt idx="222" formatCode="0">
                  <c:v>859.844250283068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D4C6-4CA2-937D-BBB2646D5F64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0,95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44</c:f>
              <c:numCache>
                <c:formatCode>m/d/yyyy</c:formatCode>
                <c:ptCount val="22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  <c:pt idx="188">
                  <c:v>44536</c:v>
                </c:pt>
                <c:pt idx="189">
                  <c:v>44537</c:v>
                </c:pt>
                <c:pt idx="190">
                  <c:v>44538</c:v>
                </c:pt>
                <c:pt idx="191">
                  <c:v>44539</c:v>
                </c:pt>
                <c:pt idx="192">
                  <c:v>44540</c:v>
                </c:pt>
                <c:pt idx="193">
                  <c:v>44541</c:v>
                </c:pt>
                <c:pt idx="194">
                  <c:v>44542</c:v>
                </c:pt>
                <c:pt idx="195">
                  <c:v>44543</c:v>
                </c:pt>
                <c:pt idx="196">
                  <c:v>44544</c:v>
                </c:pt>
                <c:pt idx="197">
                  <c:v>44545</c:v>
                </c:pt>
                <c:pt idx="198">
                  <c:v>44546</c:v>
                </c:pt>
                <c:pt idx="199">
                  <c:v>44547</c:v>
                </c:pt>
                <c:pt idx="200">
                  <c:v>44548</c:v>
                </c:pt>
                <c:pt idx="201">
                  <c:v>44549</c:v>
                </c:pt>
                <c:pt idx="202">
                  <c:v>44550</c:v>
                </c:pt>
                <c:pt idx="203">
                  <c:v>44551</c:v>
                </c:pt>
                <c:pt idx="204">
                  <c:v>44552</c:v>
                </c:pt>
                <c:pt idx="205">
                  <c:v>44553</c:v>
                </c:pt>
                <c:pt idx="206">
                  <c:v>44554</c:v>
                </c:pt>
                <c:pt idx="207">
                  <c:v>44555</c:v>
                </c:pt>
                <c:pt idx="208">
                  <c:v>44556</c:v>
                </c:pt>
                <c:pt idx="209">
                  <c:v>44557</c:v>
                </c:pt>
                <c:pt idx="210">
                  <c:v>44558</c:v>
                </c:pt>
                <c:pt idx="211">
                  <c:v>44559</c:v>
                </c:pt>
                <c:pt idx="212">
                  <c:v>44560</c:v>
                </c:pt>
                <c:pt idx="213">
                  <c:v>44561</c:v>
                </c:pt>
                <c:pt idx="214">
                  <c:v>44562</c:v>
                </c:pt>
                <c:pt idx="215">
                  <c:v>44563</c:v>
                </c:pt>
                <c:pt idx="216">
                  <c:v>44564</c:v>
                </c:pt>
                <c:pt idx="217">
                  <c:v>44565</c:v>
                </c:pt>
                <c:pt idx="218">
                  <c:v>44566</c:v>
                </c:pt>
                <c:pt idx="219">
                  <c:v>44567</c:v>
                </c:pt>
                <c:pt idx="220">
                  <c:v>44568</c:v>
                </c:pt>
                <c:pt idx="221">
                  <c:v>44569</c:v>
                </c:pt>
                <c:pt idx="222">
                  <c:v>44570</c:v>
                </c:pt>
              </c:numCache>
            </c:numRef>
          </c:cat>
          <c:val>
            <c:numRef>
              <c:f>Sheet1!$F$122:$F$344</c:f>
              <c:numCache>
                <c:formatCode>General</c:formatCode>
                <c:ptCount val="223"/>
                <c:pt idx="185" formatCode="0">
                  <c:v>1177.4866708683137</c:v>
                </c:pt>
                <c:pt idx="186" formatCode="0">
                  <c:v>1179.667096274718</c:v>
                </c:pt>
                <c:pt idx="187" formatCode="0">
                  <c:v>1182.9214625529337</c:v>
                </c:pt>
                <c:pt idx="188" formatCode="0">
                  <c:v>1188.6410112868978</c:v>
                </c:pt>
                <c:pt idx="189" formatCode="0">
                  <c:v>1199.4048277520965</c:v>
                </c:pt>
                <c:pt idx="190" formatCode="0">
                  <c:v>1212.3572055393952</c:v>
                </c:pt>
                <c:pt idx="191" formatCode="0">
                  <c:v>1226.3591164514182</c:v>
                </c:pt>
                <c:pt idx="192" formatCode="0">
                  <c:v>1236.6022343121022</c:v>
                </c:pt>
                <c:pt idx="193" formatCode="0">
                  <c:v>1246.292109905489</c:v>
                </c:pt>
                <c:pt idx="194" formatCode="0">
                  <c:v>1257.1454214433388</c:v>
                </c:pt>
                <c:pt idx="195" formatCode="0">
                  <c:v>1269.8618576754666</c:v>
                </c:pt>
                <c:pt idx="196" formatCode="0">
                  <c:v>1283.2047594161509</c:v>
                </c:pt>
                <c:pt idx="197" formatCode="0">
                  <c:v>1295.9374674796702</c:v>
                </c:pt>
                <c:pt idx="198" formatCode="0">
                  <c:v>1307.9460790462861</c:v>
                </c:pt>
                <c:pt idx="199" formatCode="0">
                  <c:v>1319.5153511653432</c:v>
                </c:pt>
                <c:pt idx="200" formatCode="0">
                  <c:v>1331.8331275283892</c:v>
                </c:pt>
                <c:pt idx="201" formatCode="0">
                  <c:v>1344.9156799668165</c:v>
                </c:pt>
                <c:pt idx="202" formatCode="0">
                  <c:v>1358.2748535388921</c:v>
                </c:pt>
                <c:pt idx="203" formatCode="0">
                  <c:v>1371.3329982302325</c:v>
                </c:pt>
                <c:pt idx="204" formatCode="0">
                  <c:v>1384.114521787925</c:v>
                </c:pt>
                <c:pt idx="205" formatCode="0">
                  <c:v>1396.9692685868768</c:v>
                </c:pt>
                <c:pt idx="206" formatCode="0">
                  <c:v>1410.181995676433</c:v>
                </c:pt>
                <c:pt idx="207" formatCode="0">
                  <c:v>1423.7852467193745</c:v>
                </c:pt>
                <c:pt idx="208" formatCode="0">
                  <c:v>1437.5105364977496</c:v>
                </c:pt>
                <c:pt idx="209" formatCode="0">
                  <c:v>1451.1707389505596</c:v>
                </c:pt>
                <c:pt idx="210" formatCode="0">
                  <c:v>1464.7821259091966</c:v>
                </c:pt>
                <c:pt idx="211" formatCode="0">
                  <c:v>1478.5480952660491</c:v>
                </c:pt>
                <c:pt idx="212" formatCode="0">
                  <c:v>1492.5662780094633</c:v>
                </c:pt>
                <c:pt idx="213" formatCode="0">
                  <c:v>1506.7878586452662</c:v>
                </c:pt>
                <c:pt idx="214" formatCode="0">
                  <c:v>1521.1233421008064</c:v>
                </c:pt>
                <c:pt idx="215" formatCode="0">
                  <c:v>1535.4995051348244</c:v>
                </c:pt>
                <c:pt idx="216" formatCode="0">
                  <c:v>1549.965163241493</c:v>
                </c:pt>
                <c:pt idx="217" formatCode="0">
                  <c:v>1564.5772678306816</c:v>
                </c:pt>
                <c:pt idx="218" formatCode="0">
                  <c:v>1579.368362565172</c:v>
                </c:pt>
                <c:pt idx="219" formatCode="0">
                  <c:v>1594.3221756135733</c:v>
                </c:pt>
                <c:pt idx="220" formatCode="0">
                  <c:v>1609.3898914817121</c:v>
                </c:pt>
                <c:pt idx="221" formatCode="0">
                  <c:v>1624.5552383381971</c:v>
                </c:pt>
                <c:pt idx="222" formatCode="0">
                  <c:v>1639.842623930115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D4C6-4CA2-937D-BBB2646D5F64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44</c:f>
              <c:numCache>
                <c:formatCode>m/d/yyyy</c:formatCode>
                <c:ptCount val="223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  <c:pt idx="188">
                  <c:v>44536</c:v>
                </c:pt>
                <c:pt idx="189">
                  <c:v>44537</c:v>
                </c:pt>
                <c:pt idx="190">
                  <c:v>44538</c:v>
                </c:pt>
                <c:pt idx="191">
                  <c:v>44539</c:v>
                </c:pt>
                <c:pt idx="192">
                  <c:v>44540</c:v>
                </c:pt>
                <c:pt idx="193">
                  <c:v>44541</c:v>
                </c:pt>
                <c:pt idx="194">
                  <c:v>44542</c:v>
                </c:pt>
                <c:pt idx="195">
                  <c:v>44543</c:v>
                </c:pt>
                <c:pt idx="196">
                  <c:v>44544</c:v>
                </c:pt>
                <c:pt idx="197">
                  <c:v>44545</c:v>
                </c:pt>
                <c:pt idx="198">
                  <c:v>44546</c:v>
                </c:pt>
                <c:pt idx="199">
                  <c:v>44547</c:v>
                </c:pt>
                <c:pt idx="200">
                  <c:v>44548</c:v>
                </c:pt>
                <c:pt idx="201">
                  <c:v>44549</c:v>
                </c:pt>
                <c:pt idx="202">
                  <c:v>44550</c:v>
                </c:pt>
                <c:pt idx="203">
                  <c:v>44551</c:v>
                </c:pt>
                <c:pt idx="204">
                  <c:v>44552</c:v>
                </c:pt>
                <c:pt idx="205">
                  <c:v>44553</c:v>
                </c:pt>
                <c:pt idx="206">
                  <c:v>44554</c:v>
                </c:pt>
                <c:pt idx="207">
                  <c:v>44555</c:v>
                </c:pt>
                <c:pt idx="208">
                  <c:v>44556</c:v>
                </c:pt>
                <c:pt idx="209">
                  <c:v>44557</c:v>
                </c:pt>
                <c:pt idx="210">
                  <c:v>44558</c:v>
                </c:pt>
                <c:pt idx="211">
                  <c:v>44559</c:v>
                </c:pt>
                <c:pt idx="212">
                  <c:v>44560</c:v>
                </c:pt>
                <c:pt idx="213">
                  <c:v>44561</c:v>
                </c:pt>
                <c:pt idx="214">
                  <c:v>44562</c:v>
                </c:pt>
                <c:pt idx="215">
                  <c:v>44563</c:v>
                </c:pt>
                <c:pt idx="216">
                  <c:v>44564</c:v>
                </c:pt>
                <c:pt idx="217">
                  <c:v>44565</c:v>
                </c:pt>
                <c:pt idx="218">
                  <c:v>44566</c:v>
                </c:pt>
                <c:pt idx="219">
                  <c:v>44567</c:v>
                </c:pt>
                <c:pt idx="220">
                  <c:v>44568</c:v>
                </c:pt>
                <c:pt idx="221">
                  <c:v>44569</c:v>
                </c:pt>
                <c:pt idx="222">
                  <c:v>44570</c:v>
                </c:pt>
              </c:numCache>
            </c:numRef>
          </c:cat>
          <c:val>
            <c:numRef>
              <c:f>Sheet1!$G$122:$G$344</c:f>
              <c:numCache>
                <c:formatCode>General</c:formatCode>
                <c:ptCount val="223"/>
                <c:pt idx="185" formatCode="0">
                  <c:v>1181.0908815214375</c:v>
                </c:pt>
                <c:pt idx="186" formatCode="0">
                  <c:v>1188.8769528420687</c:v>
                </c:pt>
                <c:pt idx="187" formatCode="0">
                  <c:v>1198.8515854847999</c:v>
                </c:pt>
                <c:pt idx="188" formatCode="0">
                  <c:v>1211.9260020075315</c:v>
                </c:pt>
                <c:pt idx="189" formatCode="0">
                  <c:v>1231.4847433396078</c:v>
                </c:pt>
                <c:pt idx="190" formatCode="0">
                  <c:v>1255.1114425194539</c:v>
                </c:pt>
                <c:pt idx="191" formatCode="0">
                  <c:v>1281.8786051577783</c:v>
                </c:pt>
                <c:pt idx="192" formatCode="0">
                  <c:v>1303.4713254137394</c:v>
                </c:pt>
                <c:pt idx="193" formatCode="0">
                  <c:v>1324.0226484606717</c:v>
                </c:pt>
                <c:pt idx="194" formatCode="0">
                  <c:v>1346.1035236583652</c:v>
                </c:pt>
                <c:pt idx="195" formatCode="0">
                  <c:v>1371.1702799163218</c:v>
                </c:pt>
                <c:pt idx="196" formatCode="0">
                  <c:v>1397.6364136739112</c:v>
                </c:pt>
                <c:pt idx="197" formatCode="0">
                  <c:v>1423.8340622135474</c:v>
                </c:pt>
                <c:pt idx="198" formatCode="0">
                  <c:v>1449.2832065091943</c:v>
                </c:pt>
                <c:pt idx="199" formatCode="0">
                  <c:v>1474.0977493805892</c:v>
                </c:pt>
                <c:pt idx="200" formatCode="0">
                  <c:v>1500.1408155220106</c:v>
                </c:pt>
                <c:pt idx="201" formatCode="0">
                  <c:v>1527.6646183200196</c:v>
                </c:pt>
                <c:pt idx="202" formatCode="0">
                  <c:v>1556.0833718445385</c:v>
                </c:pt>
                <c:pt idx="203" formatCode="0">
                  <c:v>1584.4126302964064</c:v>
                </c:pt>
                <c:pt idx="204" formatCode="0">
                  <c:v>1612.6117140971455</c:v>
                </c:pt>
                <c:pt idx="205" formatCode="0">
                  <c:v>1641.1769141041837</c:v>
                </c:pt>
                <c:pt idx="206" formatCode="0">
                  <c:v>1670.5475697650809</c:v>
                </c:pt>
                <c:pt idx="207" formatCode="0">
                  <c:v>1700.8863993937471</c:v>
                </c:pt>
                <c:pt idx="208" formatCode="0">
                  <c:v>1731.8191508681871</c:v>
                </c:pt>
                <c:pt idx="209" formatCode="0">
                  <c:v>1763.0366593919714</c:v>
                </c:pt>
                <c:pt idx="210" formatCode="0">
                  <c:v>1794.5145172180128</c:v>
                </c:pt>
                <c:pt idx="211" formatCode="0">
                  <c:v>1826.545617311351</c:v>
                </c:pt>
                <c:pt idx="212" formatCode="0">
                  <c:v>1859.3252216486787</c:v>
                </c:pt>
                <c:pt idx="213" formatCode="0">
                  <c:v>1892.837058398605</c:v>
                </c:pt>
                <c:pt idx="214" formatCode="0">
                  <c:v>1926.9265451629144</c:v>
                </c:pt>
                <c:pt idx="215" formatCode="0">
                  <c:v>1961.487915037565</c:v>
                </c:pt>
                <c:pt idx="216" formatCode="0">
                  <c:v>1996.5537116853397</c:v>
                </c:pt>
                <c:pt idx="217" formatCode="0">
                  <c:v>2032.2459738416708</c:v>
                </c:pt>
                <c:pt idx="218" formatCode="0">
                  <c:v>2068.6541965792089</c:v>
                </c:pt>
                <c:pt idx="219" formatCode="0">
                  <c:v>2105.7621080665635</c:v>
                </c:pt>
                <c:pt idx="220" formatCode="0">
                  <c:v>2143.4964850624747</c:v>
                </c:pt>
                <c:pt idx="221" formatCode="0">
                  <c:v>2181.8410557355514</c:v>
                </c:pt>
                <c:pt idx="222" formatCode="0">
                  <c:v>2220.82022783287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D4C6-4CA2-937D-BBB2646D5F6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470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20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2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6097904626E-2"/>
          <c:y val="0.10271617670208821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40:$A$283</c:f>
              <c:numCache>
                <c:formatCode>m/d/yyyy</c:formatCode>
                <c:ptCount val="144"/>
                <c:pt idx="0">
                  <c:v>44394</c:v>
                </c:pt>
                <c:pt idx="1">
                  <c:v>44395</c:v>
                </c:pt>
                <c:pt idx="2">
                  <c:v>44396</c:v>
                </c:pt>
                <c:pt idx="3">
                  <c:v>44397</c:v>
                </c:pt>
                <c:pt idx="4">
                  <c:v>44398</c:v>
                </c:pt>
                <c:pt idx="5">
                  <c:v>44399</c:v>
                </c:pt>
                <c:pt idx="6">
                  <c:v>44400</c:v>
                </c:pt>
                <c:pt idx="7">
                  <c:v>44401</c:v>
                </c:pt>
                <c:pt idx="8">
                  <c:v>44402</c:v>
                </c:pt>
                <c:pt idx="9">
                  <c:v>44403</c:v>
                </c:pt>
                <c:pt idx="10">
                  <c:v>44404</c:v>
                </c:pt>
                <c:pt idx="11">
                  <c:v>44405</c:v>
                </c:pt>
                <c:pt idx="12">
                  <c:v>44406</c:v>
                </c:pt>
                <c:pt idx="13">
                  <c:v>44407</c:v>
                </c:pt>
                <c:pt idx="14">
                  <c:v>44408</c:v>
                </c:pt>
                <c:pt idx="15">
                  <c:v>44409</c:v>
                </c:pt>
                <c:pt idx="16">
                  <c:v>44410</c:v>
                </c:pt>
                <c:pt idx="17">
                  <c:v>44411</c:v>
                </c:pt>
                <c:pt idx="18">
                  <c:v>44412</c:v>
                </c:pt>
                <c:pt idx="19">
                  <c:v>44413</c:v>
                </c:pt>
                <c:pt idx="20">
                  <c:v>44414</c:v>
                </c:pt>
                <c:pt idx="21">
                  <c:v>44415</c:v>
                </c:pt>
                <c:pt idx="22">
                  <c:v>44416</c:v>
                </c:pt>
                <c:pt idx="23">
                  <c:v>44417</c:v>
                </c:pt>
                <c:pt idx="24">
                  <c:v>44418</c:v>
                </c:pt>
                <c:pt idx="25">
                  <c:v>44419</c:v>
                </c:pt>
                <c:pt idx="26">
                  <c:v>44420</c:v>
                </c:pt>
                <c:pt idx="27">
                  <c:v>44421</c:v>
                </c:pt>
                <c:pt idx="28">
                  <c:v>44422</c:v>
                </c:pt>
                <c:pt idx="29">
                  <c:v>44423</c:v>
                </c:pt>
                <c:pt idx="30">
                  <c:v>44424</c:v>
                </c:pt>
                <c:pt idx="31">
                  <c:v>44425</c:v>
                </c:pt>
                <c:pt idx="32">
                  <c:v>44426</c:v>
                </c:pt>
                <c:pt idx="33">
                  <c:v>44427</c:v>
                </c:pt>
                <c:pt idx="34">
                  <c:v>44428</c:v>
                </c:pt>
                <c:pt idx="35">
                  <c:v>44429</c:v>
                </c:pt>
                <c:pt idx="36">
                  <c:v>44430</c:v>
                </c:pt>
                <c:pt idx="37">
                  <c:v>44431</c:v>
                </c:pt>
                <c:pt idx="38">
                  <c:v>44432</c:v>
                </c:pt>
                <c:pt idx="39">
                  <c:v>44433</c:v>
                </c:pt>
                <c:pt idx="40">
                  <c:v>44434</c:v>
                </c:pt>
                <c:pt idx="41">
                  <c:v>44435</c:v>
                </c:pt>
                <c:pt idx="42">
                  <c:v>44436</c:v>
                </c:pt>
                <c:pt idx="43">
                  <c:v>44437</c:v>
                </c:pt>
                <c:pt idx="44">
                  <c:v>44438</c:v>
                </c:pt>
                <c:pt idx="45">
                  <c:v>44439</c:v>
                </c:pt>
                <c:pt idx="46">
                  <c:v>44440</c:v>
                </c:pt>
                <c:pt idx="47">
                  <c:v>44441</c:v>
                </c:pt>
                <c:pt idx="48">
                  <c:v>44442</c:v>
                </c:pt>
                <c:pt idx="49">
                  <c:v>44443</c:v>
                </c:pt>
                <c:pt idx="50">
                  <c:v>44444</c:v>
                </c:pt>
                <c:pt idx="51">
                  <c:v>44445</c:v>
                </c:pt>
                <c:pt idx="52">
                  <c:v>44446</c:v>
                </c:pt>
                <c:pt idx="53">
                  <c:v>44447</c:v>
                </c:pt>
                <c:pt idx="54">
                  <c:v>44448</c:v>
                </c:pt>
                <c:pt idx="55">
                  <c:v>44449</c:v>
                </c:pt>
                <c:pt idx="56">
                  <c:v>44450</c:v>
                </c:pt>
                <c:pt idx="57">
                  <c:v>44451</c:v>
                </c:pt>
                <c:pt idx="58">
                  <c:v>44452</c:v>
                </c:pt>
                <c:pt idx="59">
                  <c:v>44453</c:v>
                </c:pt>
                <c:pt idx="60">
                  <c:v>44454</c:v>
                </c:pt>
                <c:pt idx="61">
                  <c:v>44455</c:v>
                </c:pt>
                <c:pt idx="62">
                  <c:v>44456</c:v>
                </c:pt>
                <c:pt idx="63">
                  <c:v>44457</c:v>
                </c:pt>
                <c:pt idx="64">
                  <c:v>44458</c:v>
                </c:pt>
                <c:pt idx="65">
                  <c:v>44459</c:v>
                </c:pt>
                <c:pt idx="66">
                  <c:v>44460</c:v>
                </c:pt>
                <c:pt idx="67">
                  <c:v>44461</c:v>
                </c:pt>
                <c:pt idx="68">
                  <c:v>44462</c:v>
                </c:pt>
                <c:pt idx="69">
                  <c:v>44463</c:v>
                </c:pt>
                <c:pt idx="70">
                  <c:v>44464</c:v>
                </c:pt>
                <c:pt idx="71">
                  <c:v>44465</c:v>
                </c:pt>
                <c:pt idx="72">
                  <c:v>44466</c:v>
                </c:pt>
                <c:pt idx="73">
                  <c:v>44467</c:v>
                </c:pt>
                <c:pt idx="74">
                  <c:v>44468</c:v>
                </c:pt>
                <c:pt idx="75">
                  <c:v>44469</c:v>
                </c:pt>
                <c:pt idx="76">
                  <c:v>44470</c:v>
                </c:pt>
                <c:pt idx="77">
                  <c:v>44471</c:v>
                </c:pt>
                <c:pt idx="78">
                  <c:v>44472</c:v>
                </c:pt>
                <c:pt idx="79">
                  <c:v>44473</c:v>
                </c:pt>
                <c:pt idx="80">
                  <c:v>44474</c:v>
                </c:pt>
                <c:pt idx="81">
                  <c:v>44475</c:v>
                </c:pt>
                <c:pt idx="82">
                  <c:v>44476</c:v>
                </c:pt>
                <c:pt idx="83">
                  <c:v>44477</c:v>
                </c:pt>
                <c:pt idx="84">
                  <c:v>44478</c:v>
                </c:pt>
                <c:pt idx="85">
                  <c:v>44479</c:v>
                </c:pt>
                <c:pt idx="86">
                  <c:v>44480</c:v>
                </c:pt>
                <c:pt idx="87">
                  <c:v>44481</c:v>
                </c:pt>
                <c:pt idx="88">
                  <c:v>44482</c:v>
                </c:pt>
                <c:pt idx="89">
                  <c:v>44483</c:v>
                </c:pt>
                <c:pt idx="90">
                  <c:v>44484</c:v>
                </c:pt>
                <c:pt idx="91">
                  <c:v>44485</c:v>
                </c:pt>
                <c:pt idx="92">
                  <c:v>44486</c:v>
                </c:pt>
                <c:pt idx="93">
                  <c:v>44487</c:v>
                </c:pt>
                <c:pt idx="94">
                  <c:v>44488</c:v>
                </c:pt>
                <c:pt idx="95">
                  <c:v>44489</c:v>
                </c:pt>
                <c:pt idx="96">
                  <c:v>44490</c:v>
                </c:pt>
                <c:pt idx="97">
                  <c:v>44491</c:v>
                </c:pt>
                <c:pt idx="98">
                  <c:v>44492</c:v>
                </c:pt>
                <c:pt idx="99">
                  <c:v>44493</c:v>
                </c:pt>
                <c:pt idx="100">
                  <c:v>44494</c:v>
                </c:pt>
                <c:pt idx="101">
                  <c:v>44495</c:v>
                </c:pt>
                <c:pt idx="102">
                  <c:v>44496</c:v>
                </c:pt>
                <c:pt idx="103">
                  <c:v>44497</c:v>
                </c:pt>
                <c:pt idx="104">
                  <c:v>44498</c:v>
                </c:pt>
                <c:pt idx="105">
                  <c:v>44499</c:v>
                </c:pt>
                <c:pt idx="106">
                  <c:v>44500</c:v>
                </c:pt>
                <c:pt idx="107">
                  <c:v>44501</c:v>
                </c:pt>
                <c:pt idx="108">
                  <c:v>44502</c:v>
                </c:pt>
                <c:pt idx="109">
                  <c:v>44503</c:v>
                </c:pt>
                <c:pt idx="110">
                  <c:v>44504</c:v>
                </c:pt>
                <c:pt idx="111">
                  <c:v>44505</c:v>
                </c:pt>
                <c:pt idx="112">
                  <c:v>44506</c:v>
                </c:pt>
                <c:pt idx="113">
                  <c:v>44507</c:v>
                </c:pt>
                <c:pt idx="114">
                  <c:v>44508</c:v>
                </c:pt>
                <c:pt idx="115">
                  <c:v>44509</c:v>
                </c:pt>
                <c:pt idx="116">
                  <c:v>44510</c:v>
                </c:pt>
                <c:pt idx="117">
                  <c:v>44511</c:v>
                </c:pt>
                <c:pt idx="118">
                  <c:v>44512</c:v>
                </c:pt>
                <c:pt idx="119">
                  <c:v>44513</c:v>
                </c:pt>
                <c:pt idx="120">
                  <c:v>44514</c:v>
                </c:pt>
                <c:pt idx="121">
                  <c:v>44515</c:v>
                </c:pt>
                <c:pt idx="122">
                  <c:v>44516</c:v>
                </c:pt>
                <c:pt idx="123">
                  <c:v>44517</c:v>
                </c:pt>
                <c:pt idx="124">
                  <c:v>44518</c:v>
                </c:pt>
                <c:pt idx="125">
                  <c:v>44519</c:v>
                </c:pt>
                <c:pt idx="126">
                  <c:v>44520</c:v>
                </c:pt>
                <c:pt idx="127">
                  <c:v>44521</c:v>
                </c:pt>
                <c:pt idx="128">
                  <c:v>44522</c:v>
                </c:pt>
                <c:pt idx="129">
                  <c:v>44523</c:v>
                </c:pt>
                <c:pt idx="130">
                  <c:v>44524</c:v>
                </c:pt>
                <c:pt idx="131">
                  <c:v>44525</c:v>
                </c:pt>
                <c:pt idx="132">
                  <c:v>44526</c:v>
                </c:pt>
                <c:pt idx="133">
                  <c:v>44527</c:v>
                </c:pt>
                <c:pt idx="134">
                  <c:v>44528</c:v>
                </c:pt>
                <c:pt idx="135">
                  <c:v>44529</c:v>
                </c:pt>
                <c:pt idx="136">
                  <c:v>44530</c:v>
                </c:pt>
                <c:pt idx="137">
                  <c:v>44531</c:v>
                </c:pt>
                <c:pt idx="138">
                  <c:v>44532</c:v>
                </c:pt>
                <c:pt idx="139">
                  <c:v>44533</c:v>
                </c:pt>
                <c:pt idx="140">
                  <c:v>44534</c:v>
                </c:pt>
                <c:pt idx="141">
                  <c:v>44535</c:v>
                </c:pt>
                <c:pt idx="142">
                  <c:v>44536</c:v>
                </c:pt>
                <c:pt idx="143">
                  <c:v>44537</c:v>
                </c:pt>
              </c:numCache>
            </c:numRef>
          </c:cat>
          <c:val>
            <c:numRef>
              <c:f>Sheet1!$B$140:$B$283</c:f>
              <c:numCache>
                <c:formatCode>General</c:formatCode>
                <c:ptCount val="144"/>
                <c:pt idx="0">
                  <c:v>8</c:v>
                </c:pt>
                <c:pt idx="1">
                  <c:v>4</c:v>
                </c:pt>
                <c:pt idx="2">
                  <c:v>8</c:v>
                </c:pt>
                <c:pt idx="3">
                  <c:v>8</c:v>
                </c:pt>
                <c:pt idx="4">
                  <c:v>10</c:v>
                </c:pt>
                <c:pt idx="5">
                  <c:v>5</c:v>
                </c:pt>
                <c:pt idx="6">
                  <c:v>10</c:v>
                </c:pt>
                <c:pt idx="7">
                  <c:v>5</c:v>
                </c:pt>
                <c:pt idx="8">
                  <c:v>1</c:v>
                </c:pt>
                <c:pt idx="9">
                  <c:v>16</c:v>
                </c:pt>
                <c:pt idx="10">
                  <c:v>8</c:v>
                </c:pt>
                <c:pt idx="11">
                  <c:v>7</c:v>
                </c:pt>
                <c:pt idx="12">
                  <c:v>13</c:v>
                </c:pt>
                <c:pt idx="13">
                  <c:v>5</c:v>
                </c:pt>
                <c:pt idx="14">
                  <c:v>3</c:v>
                </c:pt>
                <c:pt idx="15">
                  <c:v>3</c:v>
                </c:pt>
                <c:pt idx="16">
                  <c:v>12</c:v>
                </c:pt>
                <c:pt idx="17">
                  <c:v>9</c:v>
                </c:pt>
                <c:pt idx="18">
                  <c:v>8</c:v>
                </c:pt>
                <c:pt idx="19">
                  <c:v>6</c:v>
                </c:pt>
                <c:pt idx="20">
                  <c:v>11</c:v>
                </c:pt>
                <c:pt idx="21">
                  <c:v>3</c:v>
                </c:pt>
                <c:pt idx="22">
                  <c:v>3</c:v>
                </c:pt>
                <c:pt idx="23">
                  <c:v>12</c:v>
                </c:pt>
                <c:pt idx="24">
                  <c:v>8</c:v>
                </c:pt>
                <c:pt idx="25">
                  <c:v>13</c:v>
                </c:pt>
                <c:pt idx="26">
                  <c:v>7</c:v>
                </c:pt>
                <c:pt idx="27">
                  <c:v>10</c:v>
                </c:pt>
                <c:pt idx="28">
                  <c:v>4</c:v>
                </c:pt>
                <c:pt idx="29">
                  <c:v>5</c:v>
                </c:pt>
                <c:pt idx="30">
                  <c:v>12</c:v>
                </c:pt>
                <c:pt idx="31">
                  <c:v>17</c:v>
                </c:pt>
                <c:pt idx="32">
                  <c:v>13</c:v>
                </c:pt>
                <c:pt idx="33">
                  <c:v>3</c:v>
                </c:pt>
                <c:pt idx="34">
                  <c:v>9</c:v>
                </c:pt>
                <c:pt idx="35">
                  <c:v>8</c:v>
                </c:pt>
                <c:pt idx="36">
                  <c:v>5</c:v>
                </c:pt>
                <c:pt idx="37">
                  <c:v>11</c:v>
                </c:pt>
                <c:pt idx="38">
                  <c:v>17</c:v>
                </c:pt>
                <c:pt idx="39">
                  <c:v>19</c:v>
                </c:pt>
                <c:pt idx="40">
                  <c:v>10</c:v>
                </c:pt>
                <c:pt idx="41">
                  <c:v>10</c:v>
                </c:pt>
                <c:pt idx="42">
                  <c:v>7</c:v>
                </c:pt>
                <c:pt idx="43">
                  <c:v>3</c:v>
                </c:pt>
                <c:pt idx="44">
                  <c:v>12</c:v>
                </c:pt>
                <c:pt idx="45">
                  <c:v>15</c:v>
                </c:pt>
                <c:pt idx="46">
                  <c:v>26</c:v>
                </c:pt>
                <c:pt idx="47">
                  <c:v>17</c:v>
                </c:pt>
                <c:pt idx="48">
                  <c:v>31</c:v>
                </c:pt>
                <c:pt idx="49">
                  <c:v>14</c:v>
                </c:pt>
                <c:pt idx="50">
                  <c:v>10</c:v>
                </c:pt>
                <c:pt idx="51">
                  <c:v>27</c:v>
                </c:pt>
                <c:pt idx="52">
                  <c:v>36</c:v>
                </c:pt>
                <c:pt idx="53">
                  <c:v>25</c:v>
                </c:pt>
                <c:pt idx="54">
                  <c:v>23</c:v>
                </c:pt>
                <c:pt idx="55">
                  <c:v>35</c:v>
                </c:pt>
                <c:pt idx="56">
                  <c:v>12</c:v>
                </c:pt>
                <c:pt idx="57">
                  <c:v>7</c:v>
                </c:pt>
                <c:pt idx="58">
                  <c:v>42</c:v>
                </c:pt>
                <c:pt idx="59">
                  <c:v>50</c:v>
                </c:pt>
                <c:pt idx="60">
                  <c:v>30</c:v>
                </c:pt>
                <c:pt idx="61">
                  <c:v>34</c:v>
                </c:pt>
                <c:pt idx="62">
                  <c:v>49</c:v>
                </c:pt>
                <c:pt idx="63">
                  <c:v>15</c:v>
                </c:pt>
                <c:pt idx="64">
                  <c:v>18</c:v>
                </c:pt>
                <c:pt idx="65">
                  <c:v>38</c:v>
                </c:pt>
                <c:pt idx="66">
                  <c:v>44</c:v>
                </c:pt>
                <c:pt idx="67">
                  <c:v>41</c:v>
                </c:pt>
                <c:pt idx="68">
                  <c:v>25</c:v>
                </c:pt>
                <c:pt idx="69">
                  <c:v>40</c:v>
                </c:pt>
                <c:pt idx="70">
                  <c:v>30</c:v>
                </c:pt>
                <c:pt idx="71">
                  <c:v>19</c:v>
                </c:pt>
                <c:pt idx="72">
                  <c:v>57</c:v>
                </c:pt>
                <c:pt idx="73">
                  <c:v>27</c:v>
                </c:pt>
                <c:pt idx="74">
                  <c:v>52</c:v>
                </c:pt>
                <c:pt idx="75">
                  <c:v>73</c:v>
                </c:pt>
                <c:pt idx="76">
                  <c:v>84</c:v>
                </c:pt>
                <c:pt idx="77">
                  <c:v>50</c:v>
                </c:pt>
                <c:pt idx="78">
                  <c:v>30</c:v>
                </c:pt>
                <c:pt idx="79">
                  <c:v>70</c:v>
                </c:pt>
                <c:pt idx="80">
                  <c:v>111</c:v>
                </c:pt>
                <c:pt idx="81">
                  <c:v>115</c:v>
                </c:pt>
                <c:pt idx="82">
                  <c:v>99</c:v>
                </c:pt>
                <c:pt idx="83">
                  <c:v>101</c:v>
                </c:pt>
                <c:pt idx="84">
                  <c:v>36</c:v>
                </c:pt>
                <c:pt idx="85">
                  <c:v>25</c:v>
                </c:pt>
                <c:pt idx="86">
                  <c:v>109</c:v>
                </c:pt>
                <c:pt idx="87">
                  <c:v>115</c:v>
                </c:pt>
                <c:pt idx="88">
                  <c:v>132</c:v>
                </c:pt>
                <c:pt idx="89">
                  <c:v>117</c:v>
                </c:pt>
                <c:pt idx="90">
                  <c:v>185</c:v>
                </c:pt>
                <c:pt idx="91">
                  <c:v>95</c:v>
                </c:pt>
                <c:pt idx="92">
                  <c:v>57</c:v>
                </c:pt>
                <c:pt idx="93">
                  <c:v>232</c:v>
                </c:pt>
                <c:pt idx="94">
                  <c:v>297</c:v>
                </c:pt>
                <c:pt idx="95">
                  <c:v>281</c:v>
                </c:pt>
                <c:pt idx="96">
                  <c:v>292</c:v>
                </c:pt>
                <c:pt idx="97">
                  <c:v>383</c:v>
                </c:pt>
                <c:pt idx="98">
                  <c:v>212</c:v>
                </c:pt>
                <c:pt idx="99">
                  <c:v>154</c:v>
                </c:pt>
                <c:pt idx="100">
                  <c:v>430</c:v>
                </c:pt>
                <c:pt idx="101">
                  <c:v>575</c:v>
                </c:pt>
                <c:pt idx="102">
                  <c:v>501</c:v>
                </c:pt>
                <c:pt idx="103">
                  <c:v>303</c:v>
                </c:pt>
                <c:pt idx="104">
                  <c:v>623</c:v>
                </c:pt>
                <c:pt idx="105">
                  <c:v>407</c:v>
                </c:pt>
                <c:pt idx="106">
                  <c:v>287</c:v>
                </c:pt>
                <c:pt idx="107">
                  <c:v>869</c:v>
                </c:pt>
                <c:pt idx="108">
                  <c:v>913</c:v>
                </c:pt>
                <c:pt idx="109">
                  <c:v>1008</c:v>
                </c:pt>
                <c:pt idx="110">
                  <c:v>983</c:v>
                </c:pt>
                <c:pt idx="111">
                  <c:v>1036</c:v>
                </c:pt>
                <c:pt idx="112">
                  <c:v>560</c:v>
                </c:pt>
                <c:pt idx="113">
                  <c:v>323</c:v>
                </c:pt>
                <c:pt idx="114">
                  <c:v>1074</c:v>
                </c:pt>
                <c:pt idx="115">
                  <c:v>1348</c:v>
                </c:pt>
                <c:pt idx="116">
                  <c:v>1263</c:v>
                </c:pt>
                <c:pt idx="117">
                  <c:v>1092</c:v>
                </c:pt>
                <c:pt idx="118">
                  <c:v>1452</c:v>
                </c:pt>
                <c:pt idx="119">
                  <c:v>768</c:v>
                </c:pt>
                <c:pt idx="120">
                  <c:v>484</c:v>
                </c:pt>
                <c:pt idx="121">
                  <c:v>1356</c:v>
                </c:pt>
                <c:pt idx="122">
                  <c:v>1820</c:v>
                </c:pt>
                <c:pt idx="123">
                  <c:v>1063</c:v>
                </c:pt>
                <c:pt idx="124">
                  <c:v>1332</c:v>
                </c:pt>
                <c:pt idx="125">
                  <c:v>2206</c:v>
                </c:pt>
                <c:pt idx="126">
                  <c:v>1160</c:v>
                </c:pt>
                <c:pt idx="127">
                  <c:v>637</c:v>
                </c:pt>
                <c:pt idx="128">
                  <c:v>1528</c:v>
                </c:pt>
                <c:pt idx="129">
                  <c:v>2015</c:v>
                </c:pt>
                <c:pt idx="130">
                  <c:v>1621</c:v>
                </c:pt>
                <c:pt idx="131">
                  <c:v>2463</c:v>
                </c:pt>
                <c:pt idx="132">
                  <c:v>1947</c:v>
                </c:pt>
                <c:pt idx="133">
                  <c:v>1160</c:v>
                </c:pt>
                <c:pt idx="134">
                  <c:v>845</c:v>
                </c:pt>
                <c:pt idx="135">
                  <c:v>1704</c:v>
                </c:pt>
                <c:pt idx="136">
                  <c:v>1864</c:v>
                </c:pt>
                <c:pt idx="137">
                  <c:v>1919</c:v>
                </c:pt>
                <c:pt idx="138">
                  <c:v>1873</c:v>
                </c:pt>
                <c:pt idx="139">
                  <c:v>1843</c:v>
                </c:pt>
                <c:pt idx="140">
                  <c:v>1035</c:v>
                </c:pt>
                <c:pt idx="141">
                  <c:v>521</c:v>
                </c:pt>
                <c:pt idx="142">
                  <c:v>1553</c:v>
                </c:pt>
                <c:pt idx="143">
                  <c:v>17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5EA-4BD4-9376-87441B21E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40:$A$283</c:f>
              <c:numCache>
                <c:formatCode>m/d/yyyy</c:formatCode>
                <c:ptCount val="144"/>
                <c:pt idx="0">
                  <c:v>44394</c:v>
                </c:pt>
                <c:pt idx="1">
                  <c:v>44395</c:v>
                </c:pt>
                <c:pt idx="2">
                  <c:v>44396</c:v>
                </c:pt>
                <c:pt idx="3">
                  <c:v>44397</c:v>
                </c:pt>
                <c:pt idx="4">
                  <c:v>44398</c:v>
                </c:pt>
                <c:pt idx="5">
                  <c:v>44399</c:v>
                </c:pt>
                <c:pt idx="6">
                  <c:v>44400</c:v>
                </c:pt>
                <c:pt idx="7">
                  <c:v>44401</c:v>
                </c:pt>
                <c:pt idx="8">
                  <c:v>44402</c:v>
                </c:pt>
                <c:pt idx="9">
                  <c:v>44403</c:v>
                </c:pt>
                <c:pt idx="10">
                  <c:v>44404</c:v>
                </c:pt>
                <c:pt idx="11">
                  <c:v>44405</c:v>
                </c:pt>
                <c:pt idx="12">
                  <c:v>44406</c:v>
                </c:pt>
                <c:pt idx="13">
                  <c:v>44407</c:v>
                </c:pt>
                <c:pt idx="14">
                  <c:v>44408</c:v>
                </c:pt>
                <c:pt idx="15">
                  <c:v>44409</c:v>
                </c:pt>
                <c:pt idx="16">
                  <c:v>44410</c:v>
                </c:pt>
                <c:pt idx="17">
                  <c:v>44411</c:v>
                </c:pt>
                <c:pt idx="18">
                  <c:v>44412</c:v>
                </c:pt>
                <c:pt idx="19">
                  <c:v>44413</c:v>
                </c:pt>
                <c:pt idx="20">
                  <c:v>44414</c:v>
                </c:pt>
                <c:pt idx="21">
                  <c:v>44415</c:v>
                </c:pt>
                <c:pt idx="22">
                  <c:v>44416</c:v>
                </c:pt>
                <c:pt idx="23">
                  <c:v>44417</c:v>
                </c:pt>
                <c:pt idx="24">
                  <c:v>44418</c:v>
                </c:pt>
                <c:pt idx="25">
                  <c:v>44419</c:v>
                </c:pt>
                <c:pt idx="26">
                  <c:v>44420</c:v>
                </c:pt>
                <c:pt idx="27">
                  <c:v>44421</c:v>
                </c:pt>
                <c:pt idx="28">
                  <c:v>44422</c:v>
                </c:pt>
                <c:pt idx="29">
                  <c:v>44423</c:v>
                </c:pt>
                <c:pt idx="30">
                  <c:v>44424</c:v>
                </c:pt>
                <c:pt idx="31">
                  <c:v>44425</c:v>
                </c:pt>
                <c:pt idx="32">
                  <c:v>44426</c:v>
                </c:pt>
                <c:pt idx="33">
                  <c:v>44427</c:v>
                </c:pt>
                <c:pt idx="34">
                  <c:v>44428</c:v>
                </c:pt>
                <c:pt idx="35">
                  <c:v>44429</c:v>
                </c:pt>
                <c:pt idx="36">
                  <c:v>44430</c:v>
                </c:pt>
                <c:pt idx="37">
                  <c:v>44431</c:v>
                </c:pt>
                <c:pt idx="38">
                  <c:v>44432</c:v>
                </c:pt>
                <c:pt idx="39">
                  <c:v>44433</c:v>
                </c:pt>
                <c:pt idx="40">
                  <c:v>44434</c:v>
                </c:pt>
                <c:pt idx="41">
                  <c:v>44435</c:v>
                </c:pt>
                <c:pt idx="42">
                  <c:v>44436</c:v>
                </c:pt>
                <c:pt idx="43">
                  <c:v>44437</c:v>
                </c:pt>
                <c:pt idx="44">
                  <c:v>44438</c:v>
                </c:pt>
                <c:pt idx="45">
                  <c:v>44439</c:v>
                </c:pt>
                <c:pt idx="46">
                  <c:v>44440</c:v>
                </c:pt>
                <c:pt idx="47">
                  <c:v>44441</c:v>
                </c:pt>
                <c:pt idx="48">
                  <c:v>44442</c:v>
                </c:pt>
                <c:pt idx="49">
                  <c:v>44443</c:v>
                </c:pt>
                <c:pt idx="50">
                  <c:v>44444</c:v>
                </c:pt>
                <c:pt idx="51">
                  <c:v>44445</c:v>
                </c:pt>
                <c:pt idx="52">
                  <c:v>44446</c:v>
                </c:pt>
                <c:pt idx="53">
                  <c:v>44447</c:v>
                </c:pt>
                <c:pt idx="54">
                  <c:v>44448</c:v>
                </c:pt>
                <c:pt idx="55">
                  <c:v>44449</c:v>
                </c:pt>
                <c:pt idx="56">
                  <c:v>44450</c:v>
                </c:pt>
                <c:pt idx="57">
                  <c:v>44451</c:v>
                </c:pt>
                <c:pt idx="58">
                  <c:v>44452</c:v>
                </c:pt>
                <c:pt idx="59">
                  <c:v>44453</c:v>
                </c:pt>
                <c:pt idx="60">
                  <c:v>44454</c:v>
                </c:pt>
                <c:pt idx="61">
                  <c:v>44455</c:v>
                </c:pt>
                <c:pt idx="62">
                  <c:v>44456</c:v>
                </c:pt>
                <c:pt idx="63">
                  <c:v>44457</c:v>
                </c:pt>
                <c:pt idx="64">
                  <c:v>44458</c:v>
                </c:pt>
                <c:pt idx="65">
                  <c:v>44459</c:v>
                </c:pt>
                <c:pt idx="66">
                  <c:v>44460</c:v>
                </c:pt>
                <c:pt idx="67">
                  <c:v>44461</c:v>
                </c:pt>
                <c:pt idx="68">
                  <c:v>44462</c:v>
                </c:pt>
                <c:pt idx="69">
                  <c:v>44463</c:v>
                </c:pt>
                <c:pt idx="70">
                  <c:v>44464</c:v>
                </c:pt>
                <c:pt idx="71">
                  <c:v>44465</c:v>
                </c:pt>
                <c:pt idx="72">
                  <c:v>44466</c:v>
                </c:pt>
                <c:pt idx="73">
                  <c:v>44467</c:v>
                </c:pt>
                <c:pt idx="74">
                  <c:v>44468</c:v>
                </c:pt>
                <c:pt idx="75">
                  <c:v>44469</c:v>
                </c:pt>
                <c:pt idx="76">
                  <c:v>44470</c:v>
                </c:pt>
                <c:pt idx="77">
                  <c:v>44471</c:v>
                </c:pt>
                <c:pt idx="78">
                  <c:v>44472</c:v>
                </c:pt>
                <c:pt idx="79">
                  <c:v>44473</c:v>
                </c:pt>
                <c:pt idx="80">
                  <c:v>44474</c:v>
                </c:pt>
                <c:pt idx="81">
                  <c:v>44475</c:v>
                </c:pt>
                <c:pt idx="82">
                  <c:v>44476</c:v>
                </c:pt>
                <c:pt idx="83">
                  <c:v>44477</c:v>
                </c:pt>
                <c:pt idx="84">
                  <c:v>44478</c:v>
                </c:pt>
                <c:pt idx="85">
                  <c:v>44479</c:v>
                </c:pt>
                <c:pt idx="86">
                  <c:v>44480</c:v>
                </c:pt>
                <c:pt idx="87">
                  <c:v>44481</c:v>
                </c:pt>
                <c:pt idx="88">
                  <c:v>44482</c:v>
                </c:pt>
                <c:pt idx="89">
                  <c:v>44483</c:v>
                </c:pt>
                <c:pt idx="90">
                  <c:v>44484</c:v>
                </c:pt>
                <c:pt idx="91">
                  <c:v>44485</c:v>
                </c:pt>
                <c:pt idx="92">
                  <c:v>44486</c:v>
                </c:pt>
                <c:pt idx="93">
                  <c:v>44487</c:v>
                </c:pt>
                <c:pt idx="94">
                  <c:v>44488</c:v>
                </c:pt>
                <c:pt idx="95">
                  <c:v>44489</c:v>
                </c:pt>
                <c:pt idx="96">
                  <c:v>44490</c:v>
                </c:pt>
                <c:pt idx="97">
                  <c:v>44491</c:v>
                </c:pt>
                <c:pt idx="98">
                  <c:v>44492</c:v>
                </c:pt>
                <c:pt idx="99">
                  <c:v>44493</c:v>
                </c:pt>
                <c:pt idx="100">
                  <c:v>44494</c:v>
                </c:pt>
                <c:pt idx="101">
                  <c:v>44495</c:v>
                </c:pt>
                <c:pt idx="102">
                  <c:v>44496</c:v>
                </c:pt>
                <c:pt idx="103">
                  <c:v>44497</c:v>
                </c:pt>
                <c:pt idx="104">
                  <c:v>44498</c:v>
                </c:pt>
                <c:pt idx="105">
                  <c:v>44499</c:v>
                </c:pt>
                <c:pt idx="106">
                  <c:v>44500</c:v>
                </c:pt>
                <c:pt idx="107">
                  <c:v>44501</c:v>
                </c:pt>
                <c:pt idx="108">
                  <c:v>44502</c:v>
                </c:pt>
                <c:pt idx="109">
                  <c:v>44503</c:v>
                </c:pt>
                <c:pt idx="110">
                  <c:v>44504</c:v>
                </c:pt>
                <c:pt idx="111">
                  <c:v>44505</c:v>
                </c:pt>
                <c:pt idx="112">
                  <c:v>44506</c:v>
                </c:pt>
                <c:pt idx="113">
                  <c:v>44507</c:v>
                </c:pt>
                <c:pt idx="114">
                  <c:v>44508</c:v>
                </c:pt>
                <c:pt idx="115">
                  <c:v>44509</c:v>
                </c:pt>
                <c:pt idx="116">
                  <c:v>44510</c:v>
                </c:pt>
                <c:pt idx="117">
                  <c:v>44511</c:v>
                </c:pt>
                <c:pt idx="118">
                  <c:v>44512</c:v>
                </c:pt>
                <c:pt idx="119">
                  <c:v>44513</c:v>
                </c:pt>
                <c:pt idx="120">
                  <c:v>44514</c:v>
                </c:pt>
                <c:pt idx="121">
                  <c:v>44515</c:v>
                </c:pt>
                <c:pt idx="122">
                  <c:v>44516</c:v>
                </c:pt>
                <c:pt idx="123">
                  <c:v>44517</c:v>
                </c:pt>
                <c:pt idx="124">
                  <c:v>44518</c:v>
                </c:pt>
                <c:pt idx="125">
                  <c:v>44519</c:v>
                </c:pt>
                <c:pt idx="126">
                  <c:v>44520</c:v>
                </c:pt>
                <c:pt idx="127">
                  <c:v>44521</c:v>
                </c:pt>
                <c:pt idx="128">
                  <c:v>44522</c:v>
                </c:pt>
                <c:pt idx="129">
                  <c:v>44523</c:v>
                </c:pt>
                <c:pt idx="130">
                  <c:v>44524</c:v>
                </c:pt>
                <c:pt idx="131">
                  <c:v>44525</c:v>
                </c:pt>
                <c:pt idx="132">
                  <c:v>44526</c:v>
                </c:pt>
                <c:pt idx="133">
                  <c:v>44527</c:v>
                </c:pt>
                <c:pt idx="134">
                  <c:v>44528</c:v>
                </c:pt>
                <c:pt idx="135">
                  <c:v>44529</c:v>
                </c:pt>
                <c:pt idx="136">
                  <c:v>44530</c:v>
                </c:pt>
                <c:pt idx="137">
                  <c:v>44531</c:v>
                </c:pt>
                <c:pt idx="138">
                  <c:v>44532</c:v>
                </c:pt>
                <c:pt idx="139">
                  <c:v>44533</c:v>
                </c:pt>
                <c:pt idx="140">
                  <c:v>44534</c:v>
                </c:pt>
                <c:pt idx="141">
                  <c:v>44535</c:v>
                </c:pt>
                <c:pt idx="142">
                  <c:v>44536</c:v>
                </c:pt>
                <c:pt idx="143">
                  <c:v>44537</c:v>
                </c:pt>
              </c:numCache>
            </c:numRef>
          </c:cat>
          <c:val>
            <c:numRef>
              <c:f>Sheet1!$B$140:$B$283</c:f>
              <c:numCache>
                <c:formatCode>General</c:formatCode>
                <c:ptCount val="144"/>
                <c:pt idx="0">
                  <c:v>3</c:v>
                </c:pt>
                <c:pt idx="1">
                  <c:v>2</c:v>
                </c:pt>
                <c:pt idx="2">
                  <c:v>7</c:v>
                </c:pt>
                <c:pt idx="3">
                  <c:v>2</c:v>
                </c:pt>
                <c:pt idx="4">
                  <c:v>4</c:v>
                </c:pt>
                <c:pt idx="5">
                  <c:v>1</c:v>
                </c:pt>
                <c:pt idx="6">
                  <c:v>6</c:v>
                </c:pt>
                <c:pt idx="7">
                  <c:v>2</c:v>
                </c:pt>
                <c:pt idx="8">
                  <c:v>0</c:v>
                </c:pt>
                <c:pt idx="9">
                  <c:v>8</c:v>
                </c:pt>
                <c:pt idx="10">
                  <c:v>1</c:v>
                </c:pt>
                <c:pt idx="11">
                  <c:v>5</c:v>
                </c:pt>
                <c:pt idx="12">
                  <c:v>6</c:v>
                </c:pt>
                <c:pt idx="13">
                  <c:v>2</c:v>
                </c:pt>
                <c:pt idx="14">
                  <c:v>2</c:v>
                </c:pt>
                <c:pt idx="15">
                  <c:v>1</c:v>
                </c:pt>
                <c:pt idx="16">
                  <c:v>6</c:v>
                </c:pt>
                <c:pt idx="17">
                  <c:v>3</c:v>
                </c:pt>
                <c:pt idx="18">
                  <c:v>2</c:v>
                </c:pt>
                <c:pt idx="19">
                  <c:v>3</c:v>
                </c:pt>
                <c:pt idx="20">
                  <c:v>3</c:v>
                </c:pt>
                <c:pt idx="21">
                  <c:v>0</c:v>
                </c:pt>
                <c:pt idx="22">
                  <c:v>2</c:v>
                </c:pt>
                <c:pt idx="23">
                  <c:v>3</c:v>
                </c:pt>
                <c:pt idx="24">
                  <c:v>4</c:v>
                </c:pt>
                <c:pt idx="25">
                  <c:v>5</c:v>
                </c:pt>
                <c:pt idx="26">
                  <c:v>3</c:v>
                </c:pt>
                <c:pt idx="27">
                  <c:v>3</c:v>
                </c:pt>
                <c:pt idx="28">
                  <c:v>1</c:v>
                </c:pt>
                <c:pt idx="29">
                  <c:v>1</c:v>
                </c:pt>
                <c:pt idx="30">
                  <c:v>5</c:v>
                </c:pt>
                <c:pt idx="31">
                  <c:v>4</c:v>
                </c:pt>
                <c:pt idx="32">
                  <c:v>5</c:v>
                </c:pt>
                <c:pt idx="33">
                  <c:v>1</c:v>
                </c:pt>
                <c:pt idx="34">
                  <c:v>3</c:v>
                </c:pt>
                <c:pt idx="35">
                  <c:v>4</c:v>
                </c:pt>
                <c:pt idx="36">
                  <c:v>2</c:v>
                </c:pt>
                <c:pt idx="37">
                  <c:v>5</c:v>
                </c:pt>
                <c:pt idx="38">
                  <c:v>9</c:v>
                </c:pt>
                <c:pt idx="39">
                  <c:v>9</c:v>
                </c:pt>
                <c:pt idx="40">
                  <c:v>4</c:v>
                </c:pt>
                <c:pt idx="41">
                  <c:v>4</c:v>
                </c:pt>
                <c:pt idx="42">
                  <c:v>2</c:v>
                </c:pt>
                <c:pt idx="43">
                  <c:v>0</c:v>
                </c:pt>
                <c:pt idx="44">
                  <c:v>3</c:v>
                </c:pt>
                <c:pt idx="45">
                  <c:v>7</c:v>
                </c:pt>
                <c:pt idx="46">
                  <c:v>16</c:v>
                </c:pt>
                <c:pt idx="47">
                  <c:v>9</c:v>
                </c:pt>
                <c:pt idx="48">
                  <c:v>18</c:v>
                </c:pt>
                <c:pt idx="49">
                  <c:v>7</c:v>
                </c:pt>
                <c:pt idx="50">
                  <c:v>8</c:v>
                </c:pt>
                <c:pt idx="51">
                  <c:v>11</c:v>
                </c:pt>
                <c:pt idx="52">
                  <c:v>12</c:v>
                </c:pt>
                <c:pt idx="53">
                  <c:v>10</c:v>
                </c:pt>
                <c:pt idx="54">
                  <c:v>9</c:v>
                </c:pt>
                <c:pt idx="55">
                  <c:v>14</c:v>
                </c:pt>
                <c:pt idx="56">
                  <c:v>4</c:v>
                </c:pt>
                <c:pt idx="57">
                  <c:v>3</c:v>
                </c:pt>
                <c:pt idx="58">
                  <c:v>17</c:v>
                </c:pt>
                <c:pt idx="59">
                  <c:v>23</c:v>
                </c:pt>
                <c:pt idx="60">
                  <c:v>15</c:v>
                </c:pt>
                <c:pt idx="61">
                  <c:v>15</c:v>
                </c:pt>
                <c:pt idx="62">
                  <c:v>21</c:v>
                </c:pt>
                <c:pt idx="63">
                  <c:v>6</c:v>
                </c:pt>
                <c:pt idx="64">
                  <c:v>7</c:v>
                </c:pt>
                <c:pt idx="65">
                  <c:v>21</c:v>
                </c:pt>
                <c:pt idx="66">
                  <c:v>21</c:v>
                </c:pt>
                <c:pt idx="67">
                  <c:v>14</c:v>
                </c:pt>
                <c:pt idx="68">
                  <c:v>11</c:v>
                </c:pt>
                <c:pt idx="69">
                  <c:v>22</c:v>
                </c:pt>
                <c:pt idx="70">
                  <c:v>8</c:v>
                </c:pt>
                <c:pt idx="71">
                  <c:v>8</c:v>
                </c:pt>
                <c:pt idx="72">
                  <c:v>22</c:v>
                </c:pt>
                <c:pt idx="73">
                  <c:v>10</c:v>
                </c:pt>
                <c:pt idx="74">
                  <c:v>24</c:v>
                </c:pt>
                <c:pt idx="75">
                  <c:v>23</c:v>
                </c:pt>
                <c:pt idx="76">
                  <c:v>31</c:v>
                </c:pt>
                <c:pt idx="77">
                  <c:v>22</c:v>
                </c:pt>
                <c:pt idx="78">
                  <c:v>17</c:v>
                </c:pt>
                <c:pt idx="79">
                  <c:v>33</c:v>
                </c:pt>
                <c:pt idx="80">
                  <c:v>43</c:v>
                </c:pt>
                <c:pt idx="81">
                  <c:v>63</c:v>
                </c:pt>
                <c:pt idx="82">
                  <c:v>38</c:v>
                </c:pt>
                <c:pt idx="83">
                  <c:v>56</c:v>
                </c:pt>
                <c:pt idx="84">
                  <c:v>18</c:v>
                </c:pt>
                <c:pt idx="85">
                  <c:v>11</c:v>
                </c:pt>
                <c:pt idx="86">
                  <c:v>48</c:v>
                </c:pt>
                <c:pt idx="87">
                  <c:v>59</c:v>
                </c:pt>
                <c:pt idx="88">
                  <c:v>62</c:v>
                </c:pt>
                <c:pt idx="89">
                  <c:v>56</c:v>
                </c:pt>
                <c:pt idx="90">
                  <c:v>93</c:v>
                </c:pt>
                <c:pt idx="91">
                  <c:v>41</c:v>
                </c:pt>
                <c:pt idx="92">
                  <c:v>21</c:v>
                </c:pt>
                <c:pt idx="93">
                  <c:v>105</c:v>
                </c:pt>
                <c:pt idx="94">
                  <c:v>140</c:v>
                </c:pt>
                <c:pt idx="95">
                  <c:v>148</c:v>
                </c:pt>
                <c:pt idx="96">
                  <c:v>129</c:v>
                </c:pt>
                <c:pt idx="97">
                  <c:v>182</c:v>
                </c:pt>
                <c:pt idx="98">
                  <c:v>83</c:v>
                </c:pt>
                <c:pt idx="99">
                  <c:v>70</c:v>
                </c:pt>
                <c:pt idx="100">
                  <c:v>194</c:v>
                </c:pt>
                <c:pt idx="101">
                  <c:v>234</c:v>
                </c:pt>
                <c:pt idx="102">
                  <c:v>229</c:v>
                </c:pt>
                <c:pt idx="103">
                  <c:v>130</c:v>
                </c:pt>
                <c:pt idx="104">
                  <c:v>274</c:v>
                </c:pt>
                <c:pt idx="105">
                  <c:v>160</c:v>
                </c:pt>
                <c:pt idx="106">
                  <c:v>136</c:v>
                </c:pt>
                <c:pt idx="107">
                  <c:v>404</c:v>
                </c:pt>
                <c:pt idx="108">
                  <c:v>359</c:v>
                </c:pt>
                <c:pt idx="109">
                  <c:v>439</c:v>
                </c:pt>
                <c:pt idx="110">
                  <c:v>429</c:v>
                </c:pt>
                <c:pt idx="111">
                  <c:v>430</c:v>
                </c:pt>
                <c:pt idx="112">
                  <c:v>224</c:v>
                </c:pt>
                <c:pt idx="113">
                  <c:v>137</c:v>
                </c:pt>
                <c:pt idx="114">
                  <c:v>498</c:v>
                </c:pt>
                <c:pt idx="115">
                  <c:v>554</c:v>
                </c:pt>
                <c:pt idx="116">
                  <c:v>545</c:v>
                </c:pt>
                <c:pt idx="117">
                  <c:v>444</c:v>
                </c:pt>
                <c:pt idx="118">
                  <c:v>551</c:v>
                </c:pt>
                <c:pt idx="119">
                  <c:v>296</c:v>
                </c:pt>
                <c:pt idx="120">
                  <c:v>185</c:v>
                </c:pt>
                <c:pt idx="121">
                  <c:v>620</c:v>
                </c:pt>
                <c:pt idx="122">
                  <c:v>749</c:v>
                </c:pt>
                <c:pt idx="123">
                  <c:v>398</c:v>
                </c:pt>
                <c:pt idx="124">
                  <c:v>561</c:v>
                </c:pt>
                <c:pt idx="125">
                  <c:v>855</c:v>
                </c:pt>
                <c:pt idx="126">
                  <c:v>430</c:v>
                </c:pt>
                <c:pt idx="127">
                  <c:v>224</c:v>
                </c:pt>
                <c:pt idx="128">
                  <c:v>639</c:v>
                </c:pt>
                <c:pt idx="129">
                  <c:v>726</c:v>
                </c:pt>
                <c:pt idx="130">
                  <c:v>567</c:v>
                </c:pt>
                <c:pt idx="131">
                  <c:v>869</c:v>
                </c:pt>
                <c:pt idx="132">
                  <c:v>679</c:v>
                </c:pt>
                <c:pt idx="133">
                  <c:v>406</c:v>
                </c:pt>
                <c:pt idx="134">
                  <c:v>316</c:v>
                </c:pt>
                <c:pt idx="135">
                  <c:v>673</c:v>
                </c:pt>
                <c:pt idx="136">
                  <c:v>614</c:v>
                </c:pt>
                <c:pt idx="137">
                  <c:v>657</c:v>
                </c:pt>
                <c:pt idx="138">
                  <c:v>678</c:v>
                </c:pt>
                <c:pt idx="139">
                  <c:v>618</c:v>
                </c:pt>
                <c:pt idx="140">
                  <c:v>317</c:v>
                </c:pt>
                <c:pt idx="141">
                  <c:v>194</c:v>
                </c:pt>
                <c:pt idx="142">
                  <c:v>626</c:v>
                </c:pt>
                <c:pt idx="143">
                  <c:v>6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10F-4B56-9C79-478BA9376E7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At val="0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</c:scaling>
        <c:delete val="0"/>
        <c:axPos val="l"/>
        <c:numFmt formatCode="0" sourceLinked="0"/>
        <c:majorTickMark val="out"/>
        <c:minorTickMark val="out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inorUnit val="1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5"/>
          <c:order val="4"/>
          <c:tx>
            <c:strRef>
              <c:f>Sheet1!$G$1</c:f>
              <c:strCache>
                <c:ptCount val="1"/>
                <c:pt idx="0">
                  <c:v>Reálná data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250</c:f>
              <c:numCache>
                <c:formatCode>m/d/yyyy</c:formatCode>
                <c:ptCount val="24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  <c:pt idx="219">
                  <c:v>44536</c:v>
                </c:pt>
                <c:pt idx="220">
                  <c:v>44537</c:v>
                </c:pt>
                <c:pt idx="221">
                  <c:v>44538</c:v>
                </c:pt>
                <c:pt idx="222">
                  <c:v>44539</c:v>
                </c:pt>
                <c:pt idx="223">
                  <c:v>44540</c:v>
                </c:pt>
                <c:pt idx="224">
                  <c:v>44541</c:v>
                </c:pt>
                <c:pt idx="225">
                  <c:v>44542</c:v>
                </c:pt>
                <c:pt idx="226">
                  <c:v>44543</c:v>
                </c:pt>
                <c:pt idx="227">
                  <c:v>44544</c:v>
                </c:pt>
                <c:pt idx="228">
                  <c:v>44545</c:v>
                </c:pt>
                <c:pt idx="229">
                  <c:v>44546</c:v>
                </c:pt>
                <c:pt idx="230">
                  <c:v>44547</c:v>
                </c:pt>
                <c:pt idx="231">
                  <c:v>44548</c:v>
                </c:pt>
                <c:pt idx="232">
                  <c:v>44549</c:v>
                </c:pt>
                <c:pt idx="233">
                  <c:v>44550</c:v>
                </c:pt>
                <c:pt idx="234">
                  <c:v>44551</c:v>
                </c:pt>
                <c:pt idx="235">
                  <c:v>44552</c:v>
                </c:pt>
                <c:pt idx="236">
                  <c:v>44553</c:v>
                </c:pt>
                <c:pt idx="237">
                  <c:v>44554</c:v>
                </c:pt>
                <c:pt idx="238">
                  <c:v>44555</c:v>
                </c:pt>
                <c:pt idx="239">
                  <c:v>44556</c:v>
                </c:pt>
                <c:pt idx="240">
                  <c:v>44557</c:v>
                </c:pt>
                <c:pt idx="241">
                  <c:v>44558</c:v>
                </c:pt>
                <c:pt idx="242">
                  <c:v>44559</c:v>
                </c:pt>
                <c:pt idx="243">
                  <c:v>44560</c:v>
                </c:pt>
                <c:pt idx="244">
                  <c:v>44561</c:v>
                </c:pt>
                <c:pt idx="245">
                  <c:v>44562</c:v>
                </c:pt>
                <c:pt idx="246">
                  <c:v>44563</c:v>
                </c:pt>
                <c:pt idx="247">
                  <c:v>44564</c:v>
                </c:pt>
                <c:pt idx="248">
                  <c:v>44565</c:v>
                </c:pt>
              </c:numCache>
            </c:numRef>
          </c:cat>
          <c:val>
            <c:numRef>
              <c:f>Sheet1!$G$2:$G$250</c:f>
              <c:numCache>
                <c:formatCode>General</c:formatCode>
                <c:ptCount val="249"/>
                <c:pt idx="0">
                  <c:v>158</c:v>
                </c:pt>
                <c:pt idx="1">
                  <c:v>147</c:v>
                </c:pt>
                <c:pt idx="2">
                  <c:v>255</c:v>
                </c:pt>
                <c:pt idx="3">
                  <c:v>172</c:v>
                </c:pt>
                <c:pt idx="4">
                  <c:v>182</c:v>
                </c:pt>
                <c:pt idx="5">
                  <c:v>171</c:v>
                </c:pt>
                <c:pt idx="6">
                  <c:v>176</c:v>
                </c:pt>
                <c:pt idx="7">
                  <c:v>92</c:v>
                </c:pt>
                <c:pt idx="8">
                  <c:v>102</c:v>
                </c:pt>
                <c:pt idx="9">
                  <c:v>176</c:v>
                </c:pt>
                <c:pt idx="10">
                  <c:v>139</c:v>
                </c:pt>
                <c:pt idx="11">
                  <c:v>138</c:v>
                </c:pt>
                <c:pt idx="12">
                  <c:v>121</c:v>
                </c:pt>
                <c:pt idx="13">
                  <c:v>105</c:v>
                </c:pt>
                <c:pt idx="14">
                  <c:v>65</c:v>
                </c:pt>
                <c:pt idx="15">
                  <c:v>65</c:v>
                </c:pt>
                <c:pt idx="16">
                  <c:v>103</c:v>
                </c:pt>
                <c:pt idx="17">
                  <c:v>80</c:v>
                </c:pt>
                <c:pt idx="18">
                  <c:v>69</c:v>
                </c:pt>
                <c:pt idx="19">
                  <c:v>68</c:v>
                </c:pt>
                <c:pt idx="20">
                  <c:v>77</c:v>
                </c:pt>
                <c:pt idx="21">
                  <c:v>35</c:v>
                </c:pt>
                <c:pt idx="22">
                  <c:v>29</c:v>
                </c:pt>
                <c:pt idx="23">
                  <c:v>57</c:v>
                </c:pt>
                <c:pt idx="24">
                  <c:v>59</c:v>
                </c:pt>
                <c:pt idx="25">
                  <c:v>61</c:v>
                </c:pt>
                <c:pt idx="26">
                  <c:v>38</c:v>
                </c:pt>
                <c:pt idx="27">
                  <c:v>40</c:v>
                </c:pt>
                <c:pt idx="28">
                  <c:v>19</c:v>
                </c:pt>
                <c:pt idx="29">
                  <c:v>27</c:v>
                </c:pt>
                <c:pt idx="30">
                  <c:v>41</c:v>
                </c:pt>
                <c:pt idx="31">
                  <c:v>28</c:v>
                </c:pt>
                <c:pt idx="32">
                  <c:v>38</c:v>
                </c:pt>
                <c:pt idx="33">
                  <c:v>20</c:v>
                </c:pt>
                <c:pt idx="34">
                  <c:v>28</c:v>
                </c:pt>
                <c:pt idx="35">
                  <c:v>15</c:v>
                </c:pt>
                <c:pt idx="36">
                  <c:v>12</c:v>
                </c:pt>
                <c:pt idx="37">
                  <c:v>14</c:v>
                </c:pt>
                <c:pt idx="38">
                  <c:v>23</c:v>
                </c:pt>
                <c:pt idx="39">
                  <c:v>15</c:v>
                </c:pt>
                <c:pt idx="40">
                  <c:v>18</c:v>
                </c:pt>
                <c:pt idx="41">
                  <c:v>10</c:v>
                </c:pt>
                <c:pt idx="42">
                  <c:v>8</c:v>
                </c:pt>
                <c:pt idx="43">
                  <c:v>5</c:v>
                </c:pt>
                <c:pt idx="44">
                  <c:v>9</c:v>
                </c:pt>
                <c:pt idx="45">
                  <c:v>9</c:v>
                </c:pt>
                <c:pt idx="46">
                  <c:v>6</c:v>
                </c:pt>
                <c:pt idx="47">
                  <c:v>24</c:v>
                </c:pt>
                <c:pt idx="48">
                  <c:v>8</c:v>
                </c:pt>
                <c:pt idx="49">
                  <c:v>10</c:v>
                </c:pt>
                <c:pt idx="50">
                  <c:v>2</c:v>
                </c:pt>
                <c:pt idx="51">
                  <c:v>8</c:v>
                </c:pt>
                <c:pt idx="52">
                  <c:v>7</c:v>
                </c:pt>
                <c:pt idx="53">
                  <c:v>7</c:v>
                </c:pt>
                <c:pt idx="54">
                  <c:v>4</c:v>
                </c:pt>
                <c:pt idx="55">
                  <c:v>6</c:v>
                </c:pt>
                <c:pt idx="56">
                  <c:v>2</c:v>
                </c:pt>
                <c:pt idx="57">
                  <c:v>2</c:v>
                </c:pt>
                <c:pt idx="58">
                  <c:v>7</c:v>
                </c:pt>
                <c:pt idx="59">
                  <c:v>2</c:v>
                </c:pt>
                <c:pt idx="60">
                  <c:v>10</c:v>
                </c:pt>
                <c:pt idx="61">
                  <c:v>4</c:v>
                </c:pt>
                <c:pt idx="62">
                  <c:v>2</c:v>
                </c:pt>
                <c:pt idx="63">
                  <c:v>2</c:v>
                </c:pt>
                <c:pt idx="64">
                  <c:v>3</c:v>
                </c:pt>
                <c:pt idx="65">
                  <c:v>2</c:v>
                </c:pt>
                <c:pt idx="67">
                  <c:v>8</c:v>
                </c:pt>
                <c:pt idx="68">
                  <c:v>4</c:v>
                </c:pt>
                <c:pt idx="69">
                  <c:v>5</c:v>
                </c:pt>
                <c:pt idx="70">
                  <c:v>3</c:v>
                </c:pt>
                <c:pt idx="71">
                  <c:v>5</c:v>
                </c:pt>
                <c:pt idx="72">
                  <c:v>8</c:v>
                </c:pt>
                <c:pt idx="74">
                  <c:v>5</c:v>
                </c:pt>
                <c:pt idx="75">
                  <c:v>6</c:v>
                </c:pt>
                <c:pt idx="76">
                  <c:v>6</c:v>
                </c:pt>
                <c:pt idx="77">
                  <c:v>4</c:v>
                </c:pt>
                <c:pt idx="78">
                  <c:v>2</c:v>
                </c:pt>
                <c:pt idx="79">
                  <c:v>10</c:v>
                </c:pt>
                <c:pt idx="80">
                  <c:v>5</c:v>
                </c:pt>
                <c:pt idx="81">
                  <c:v>6</c:v>
                </c:pt>
                <c:pt idx="82">
                  <c:v>6</c:v>
                </c:pt>
                <c:pt idx="83">
                  <c:v>5</c:v>
                </c:pt>
                <c:pt idx="84">
                  <c:v>6</c:v>
                </c:pt>
                <c:pt idx="85">
                  <c:v>8</c:v>
                </c:pt>
                <c:pt idx="86">
                  <c:v>14</c:v>
                </c:pt>
                <c:pt idx="87">
                  <c:v>3</c:v>
                </c:pt>
                <c:pt idx="88">
                  <c:v>7</c:v>
                </c:pt>
                <c:pt idx="89">
                  <c:v>11</c:v>
                </c:pt>
                <c:pt idx="90">
                  <c:v>4</c:v>
                </c:pt>
                <c:pt idx="91">
                  <c:v>5</c:v>
                </c:pt>
                <c:pt idx="92">
                  <c:v>4</c:v>
                </c:pt>
                <c:pt idx="93">
                  <c:v>9</c:v>
                </c:pt>
                <c:pt idx="94">
                  <c:v>3</c:v>
                </c:pt>
                <c:pt idx="95">
                  <c:v>12</c:v>
                </c:pt>
                <c:pt idx="96">
                  <c:v>3</c:v>
                </c:pt>
                <c:pt idx="97">
                  <c:v>9</c:v>
                </c:pt>
                <c:pt idx="98">
                  <c:v>6</c:v>
                </c:pt>
                <c:pt idx="99">
                  <c:v>2</c:v>
                </c:pt>
                <c:pt idx="100">
                  <c:v>7</c:v>
                </c:pt>
                <c:pt idx="101">
                  <c:v>7</c:v>
                </c:pt>
                <c:pt idx="102">
                  <c:v>7</c:v>
                </c:pt>
                <c:pt idx="103">
                  <c:v>5</c:v>
                </c:pt>
                <c:pt idx="104">
                  <c:v>6</c:v>
                </c:pt>
                <c:pt idx="105">
                  <c:v>9</c:v>
                </c:pt>
                <c:pt idx="106">
                  <c:v>5</c:v>
                </c:pt>
                <c:pt idx="107">
                  <c:v>10</c:v>
                </c:pt>
                <c:pt idx="108">
                  <c:v>7</c:v>
                </c:pt>
                <c:pt idx="109">
                  <c:v>9</c:v>
                </c:pt>
                <c:pt idx="110">
                  <c:v>10</c:v>
                </c:pt>
                <c:pt idx="111">
                  <c:v>10</c:v>
                </c:pt>
                <c:pt idx="112">
                  <c:v>6</c:v>
                </c:pt>
                <c:pt idx="113">
                  <c:v>6</c:v>
                </c:pt>
                <c:pt idx="114">
                  <c:v>8</c:v>
                </c:pt>
                <c:pt idx="115">
                  <c:v>11</c:v>
                </c:pt>
                <c:pt idx="116">
                  <c:v>10</c:v>
                </c:pt>
                <c:pt idx="117">
                  <c:v>7</c:v>
                </c:pt>
                <c:pt idx="118">
                  <c:v>7</c:v>
                </c:pt>
                <c:pt idx="119">
                  <c:v>5</c:v>
                </c:pt>
                <c:pt idx="120">
                  <c:v>3</c:v>
                </c:pt>
                <c:pt idx="121">
                  <c:v>4</c:v>
                </c:pt>
                <c:pt idx="122">
                  <c:v>9</c:v>
                </c:pt>
                <c:pt idx="123">
                  <c:v>15</c:v>
                </c:pt>
                <c:pt idx="124">
                  <c:v>10</c:v>
                </c:pt>
                <c:pt idx="125">
                  <c:v>14</c:v>
                </c:pt>
                <c:pt idx="126">
                  <c:v>7</c:v>
                </c:pt>
                <c:pt idx="127">
                  <c:v>10</c:v>
                </c:pt>
                <c:pt idx="128">
                  <c:v>17</c:v>
                </c:pt>
                <c:pt idx="129">
                  <c:v>13</c:v>
                </c:pt>
                <c:pt idx="130">
                  <c:v>15</c:v>
                </c:pt>
                <c:pt idx="131">
                  <c:v>16</c:v>
                </c:pt>
                <c:pt idx="132">
                  <c:v>13</c:v>
                </c:pt>
                <c:pt idx="133">
                  <c:v>12</c:v>
                </c:pt>
                <c:pt idx="134">
                  <c:v>17</c:v>
                </c:pt>
                <c:pt idx="135">
                  <c:v>29</c:v>
                </c:pt>
                <c:pt idx="136">
                  <c:v>25</c:v>
                </c:pt>
                <c:pt idx="137">
                  <c:v>17</c:v>
                </c:pt>
                <c:pt idx="138">
                  <c:v>19</c:v>
                </c:pt>
                <c:pt idx="139">
                  <c:v>31</c:v>
                </c:pt>
                <c:pt idx="140">
                  <c:v>9</c:v>
                </c:pt>
                <c:pt idx="141">
                  <c:v>14</c:v>
                </c:pt>
                <c:pt idx="142">
                  <c:v>23</c:v>
                </c:pt>
                <c:pt idx="143">
                  <c:v>19</c:v>
                </c:pt>
                <c:pt idx="144">
                  <c:v>17</c:v>
                </c:pt>
                <c:pt idx="145">
                  <c:v>21</c:v>
                </c:pt>
                <c:pt idx="146">
                  <c:v>27</c:v>
                </c:pt>
                <c:pt idx="147">
                  <c:v>20</c:v>
                </c:pt>
                <c:pt idx="148">
                  <c:v>16</c:v>
                </c:pt>
                <c:pt idx="149">
                  <c:v>34</c:v>
                </c:pt>
                <c:pt idx="150">
                  <c:v>16</c:v>
                </c:pt>
                <c:pt idx="151">
                  <c:v>36</c:v>
                </c:pt>
                <c:pt idx="152">
                  <c:v>32</c:v>
                </c:pt>
                <c:pt idx="153">
                  <c:v>31</c:v>
                </c:pt>
                <c:pt idx="154">
                  <c:v>27</c:v>
                </c:pt>
                <c:pt idx="155">
                  <c:v>25</c:v>
                </c:pt>
                <c:pt idx="156">
                  <c:v>53</c:v>
                </c:pt>
                <c:pt idx="157">
                  <c:v>40</c:v>
                </c:pt>
                <c:pt idx="158">
                  <c:v>54</c:v>
                </c:pt>
                <c:pt idx="159">
                  <c:v>39</c:v>
                </c:pt>
                <c:pt idx="160">
                  <c:v>51</c:v>
                </c:pt>
                <c:pt idx="161">
                  <c:v>30</c:v>
                </c:pt>
                <c:pt idx="162">
                  <c:v>34</c:v>
                </c:pt>
                <c:pt idx="163">
                  <c:v>80</c:v>
                </c:pt>
                <c:pt idx="164">
                  <c:v>62</c:v>
                </c:pt>
                <c:pt idx="165">
                  <c:v>63</c:v>
                </c:pt>
                <c:pt idx="166">
                  <c:v>57</c:v>
                </c:pt>
                <c:pt idx="167">
                  <c:v>82</c:v>
                </c:pt>
                <c:pt idx="168">
                  <c:v>70</c:v>
                </c:pt>
                <c:pt idx="169">
                  <c:v>50</c:v>
                </c:pt>
                <c:pt idx="170">
                  <c:v>133</c:v>
                </c:pt>
                <c:pt idx="171">
                  <c:v>142</c:v>
                </c:pt>
                <c:pt idx="172">
                  <c:v>117</c:v>
                </c:pt>
                <c:pt idx="173">
                  <c:v>123</c:v>
                </c:pt>
                <c:pt idx="174">
                  <c:v>159</c:v>
                </c:pt>
                <c:pt idx="175">
                  <c:v>112</c:v>
                </c:pt>
                <c:pt idx="176">
                  <c:v>110</c:v>
                </c:pt>
                <c:pt idx="177">
                  <c:v>216</c:v>
                </c:pt>
                <c:pt idx="178">
                  <c:v>261</c:v>
                </c:pt>
                <c:pt idx="179">
                  <c:v>239</c:v>
                </c:pt>
                <c:pt idx="180">
                  <c:v>170</c:v>
                </c:pt>
                <c:pt idx="181">
                  <c:v>270</c:v>
                </c:pt>
                <c:pt idx="182">
                  <c:v>189</c:v>
                </c:pt>
                <c:pt idx="183">
                  <c:v>203</c:v>
                </c:pt>
                <c:pt idx="184">
                  <c:v>412</c:v>
                </c:pt>
                <c:pt idx="185">
                  <c:v>392</c:v>
                </c:pt>
                <c:pt idx="186">
                  <c:v>383</c:v>
                </c:pt>
                <c:pt idx="187">
                  <c:v>385</c:v>
                </c:pt>
                <c:pt idx="188">
                  <c:v>358</c:v>
                </c:pt>
                <c:pt idx="189">
                  <c:v>280</c:v>
                </c:pt>
                <c:pt idx="190">
                  <c:v>278</c:v>
                </c:pt>
                <c:pt idx="191">
                  <c:v>535</c:v>
                </c:pt>
                <c:pt idx="192">
                  <c:v>546</c:v>
                </c:pt>
                <c:pt idx="193">
                  <c:v>469</c:v>
                </c:pt>
                <c:pt idx="194">
                  <c:v>492</c:v>
                </c:pt>
                <c:pt idx="195">
                  <c:v>530</c:v>
                </c:pt>
                <c:pt idx="196">
                  <c:v>376</c:v>
                </c:pt>
                <c:pt idx="197">
                  <c:v>342</c:v>
                </c:pt>
                <c:pt idx="198">
                  <c:v>729</c:v>
                </c:pt>
                <c:pt idx="199">
                  <c:v>652</c:v>
                </c:pt>
                <c:pt idx="200">
                  <c:v>475</c:v>
                </c:pt>
                <c:pt idx="201">
                  <c:v>638</c:v>
                </c:pt>
                <c:pt idx="202">
                  <c:v>690</c:v>
                </c:pt>
                <c:pt idx="203">
                  <c:v>494</c:v>
                </c:pt>
                <c:pt idx="204">
                  <c:v>494</c:v>
                </c:pt>
                <c:pt idx="205">
                  <c:v>847</c:v>
                </c:pt>
                <c:pt idx="206">
                  <c:v>748</c:v>
                </c:pt>
                <c:pt idx="207">
                  <c:v>712</c:v>
                </c:pt>
                <c:pt idx="208">
                  <c:v>720</c:v>
                </c:pt>
                <c:pt idx="209">
                  <c:v>762</c:v>
                </c:pt>
                <c:pt idx="210">
                  <c:v>526</c:v>
                </c:pt>
                <c:pt idx="211">
                  <c:v>490</c:v>
                </c:pt>
                <c:pt idx="212">
                  <c:v>811</c:v>
                </c:pt>
                <c:pt idx="213">
                  <c:v>729</c:v>
                </c:pt>
                <c:pt idx="214">
                  <c:v>689</c:v>
                </c:pt>
                <c:pt idx="215">
                  <c:v>709</c:v>
                </c:pt>
                <c:pt idx="216">
                  <c:v>564</c:v>
                </c:pt>
                <c:pt idx="217">
                  <c:v>2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FA7-4D9A-8C9E-78CAA4FB84E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07093791"/>
        <c:axId val="209778303"/>
      </c:barChart>
      <c:lineChart>
        <c:grouping val="standard"/>
        <c:varyColors val="0"/>
        <c:ser>
          <c:idx val="0"/>
          <c:order val="0"/>
          <c:tx>
            <c:strRef>
              <c:f>Sheet1!$E$1</c:f>
              <c:strCache>
                <c:ptCount val="1"/>
                <c:pt idx="0">
                  <c:v>B</c:v>
                </c:pt>
              </c:strCache>
            </c:strRef>
          </c:tx>
          <c:spPr>
            <a:ln w="28575" cap="rnd">
              <a:solidFill>
                <a:srgbClr val="C00000"/>
              </a:solidFill>
              <a:prstDash val="sysDot"/>
              <a:round/>
            </a:ln>
            <a:effectLst/>
          </c:spPr>
          <c:marker>
            <c:symbol val="none"/>
          </c:marker>
          <c:val>
            <c:numRef>
              <c:f>Sheet1!$E$2:$E$250</c:f>
              <c:numCache>
                <c:formatCode>General</c:formatCode>
                <c:ptCount val="249"/>
                <c:pt idx="0">
                  <c:v>139.65993792819791</c:v>
                </c:pt>
                <c:pt idx="1">
                  <c:v>137.08635260959272</c:v>
                </c:pt>
                <c:pt idx="2">
                  <c:v>133.27637078842963</c:v>
                </c:pt>
                <c:pt idx="3">
                  <c:v>129.35409554172656</c:v>
                </c:pt>
                <c:pt idx="4">
                  <c:v>124.332784227925</c:v>
                </c:pt>
                <c:pt idx="5">
                  <c:v>119.09084387710027</c:v>
                </c:pt>
                <c:pt idx="6">
                  <c:v>114.59973425243516</c:v>
                </c:pt>
                <c:pt idx="7">
                  <c:v>110.27716167934705</c:v>
                </c:pt>
                <c:pt idx="8">
                  <c:v>105.71297996758949</c:v>
                </c:pt>
                <c:pt idx="9">
                  <c:v>101.26732064466341</c:v>
                </c:pt>
                <c:pt idx="10">
                  <c:v>97.314880390360486</c:v>
                </c:pt>
                <c:pt idx="11">
                  <c:v>93.338850519794505</c:v>
                </c:pt>
                <c:pt idx="12">
                  <c:v>89.15481833240483</c:v>
                </c:pt>
                <c:pt idx="13">
                  <c:v>85.302967474155594</c:v>
                </c:pt>
                <c:pt idx="14">
                  <c:v>82.0170131775958</c:v>
                </c:pt>
                <c:pt idx="15">
                  <c:v>78.467502174346009</c:v>
                </c:pt>
                <c:pt idx="16">
                  <c:v>75.078432513808366</c:v>
                </c:pt>
                <c:pt idx="17">
                  <c:v>71.766382134228479</c:v>
                </c:pt>
                <c:pt idx="18">
                  <c:v>68.17018428479787</c:v>
                </c:pt>
                <c:pt idx="19">
                  <c:v>64.477729284815723</c:v>
                </c:pt>
                <c:pt idx="20">
                  <c:v>60.878049029764952</c:v>
                </c:pt>
                <c:pt idx="21">
                  <c:v>57.535300651710713</c:v>
                </c:pt>
                <c:pt idx="22">
                  <c:v>54.314253830176312</c:v>
                </c:pt>
                <c:pt idx="23">
                  <c:v>51.120821735326899</c:v>
                </c:pt>
                <c:pt idx="24">
                  <c:v>48.110979723016499</c:v>
                </c:pt>
                <c:pt idx="25">
                  <c:v>45.263314949785126</c:v>
                </c:pt>
                <c:pt idx="26">
                  <c:v>42.570709502528189</c:v>
                </c:pt>
                <c:pt idx="27">
                  <c:v>40.020233393122908</c:v>
                </c:pt>
                <c:pt idx="28">
                  <c:v>37.605433053628076</c:v>
                </c:pt>
                <c:pt idx="29">
                  <c:v>35.326144520222442</c:v>
                </c:pt>
                <c:pt idx="30">
                  <c:v>33.178998366987798</c:v>
                </c:pt>
                <c:pt idx="31">
                  <c:v>31.153645326907281</c:v>
                </c:pt>
                <c:pt idx="32">
                  <c:v>29.242548940703273</c:v>
                </c:pt>
                <c:pt idx="33">
                  <c:v>27.437910032342188</c:v>
                </c:pt>
                <c:pt idx="34">
                  <c:v>25.73203517193906</c:v>
                </c:pt>
                <c:pt idx="35">
                  <c:v>24.119329324545106</c:v>
                </c:pt>
                <c:pt idx="36">
                  <c:v>22.597655225399649</c:v>
                </c:pt>
                <c:pt idx="37">
                  <c:v>21.166233477066271</c:v>
                </c:pt>
                <c:pt idx="38">
                  <c:v>19.932986658095615</c:v>
                </c:pt>
                <c:pt idx="39">
                  <c:v>18.850491471472196</c:v>
                </c:pt>
                <c:pt idx="40">
                  <c:v>17.877157486393116</c:v>
                </c:pt>
                <c:pt idx="41">
                  <c:v>16.985778584465152</c:v>
                </c:pt>
                <c:pt idx="42">
                  <c:v>16.161150507803541</c:v>
                </c:pt>
                <c:pt idx="43">
                  <c:v>15.39957051849342</c:v>
                </c:pt>
                <c:pt idx="44">
                  <c:v>14.700013206282165</c:v>
                </c:pt>
                <c:pt idx="45">
                  <c:v>14.052764540945645</c:v>
                </c:pt>
                <c:pt idx="46">
                  <c:v>13.450227428314975</c:v>
                </c:pt>
                <c:pt idx="47">
                  <c:v>12.883896550512873</c:v>
                </c:pt>
                <c:pt idx="48">
                  <c:v>12.347935659170616</c:v>
                </c:pt>
                <c:pt idx="49">
                  <c:v>11.83944315550616</c:v>
                </c:pt>
                <c:pt idx="50">
                  <c:v>11.359310383035336</c:v>
                </c:pt>
                <c:pt idx="51">
                  <c:v>10.908419969491661</c:v>
                </c:pt>
                <c:pt idx="52">
                  <c:v>10.482358451845357</c:v>
                </c:pt>
                <c:pt idx="53">
                  <c:v>10.076573088153964</c:v>
                </c:pt>
                <c:pt idx="54">
                  <c:v>9.6882868957472965</c:v>
                </c:pt>
                <c:pt idx="55">
                  <c:v>9.3149495795951225</c:v>
                </c:pt>
                <c:pt idx="56">
                  <c:v>8.9555687728861813</c:v>
                </c:pt>
                <c:pt idx="57">
                  <c:v>8.6121411337226164</c:v>
                </c:pt>
                <c:pt idx="58">
                  <c:v>8.3627865586895496</c:v>
                </c:pt>
                <c:pt idx="59">
                  <c:v>8.2490853264462203</c:v>
                </c:pt>
                <c:pt idx="60">
                  <c:v>8.2231420744210482</c:v>
                </c:pt>
                <c:pt idx="61">
                  <c:v>8.2487806382996496</c:v>
                </c:pt>
                <c:pt idx="62">
                  <c:v>8.3041043518751394</c:v>
                </c:pt>
                <c:pt idx="63">
                  <c:v>8.3764497038209811</c:v>
                </c:pt>
                <c:pt idx="64">
                  <c:v>8.4616787693812512</c:v>
                </c:pt>
                <c:pt idx="65">
                  <c:v>8.5571567183651496</c:v>
                </c:pt>
                <c:pt idx="66">
                  <c:v>8.6582926634582691</c:v>
                </c:pt>
                <c:pt idx="67">
                  <c:v>8.7601519718882628</c:v>
                </c:pt>
                <c:pt idx="68">
                  <c:v>8.8588262627599761</c:v>
                </c:pt>
                <c:pt idx="69">
                  <c:v>8.977369830099633</c:v>
                </c:pt>
                <c:pt idx="70">
                  <c:v>9.1073047791433055</c:v>
                </c:pt>
                <c:pt idx="71">
                  <c:v>9.2387895193533041</c:v>
                </c:pt>
                <c:pt idx="72">
                  <c:v>9.3665363434993196</c:v>
                </c:pt>
                <c:pt idx="73">
                  <c:v>9.4863475258462131</c:v>
                </c:pt>
                <c:pt idx="74">
                  <c:v>9.5946482936269604</c:v>
                </c:pt>
                <c:pt idx="75">
                  <c:v>9.6873885850363877</c:v>
                </c:pt>
                <c:pt idx="76">
                  <c:v>9.7619893636147026</c:v>
                </c:pt>
                <c:pt idx="77">
                  <c:v>9.8184310720534995</c:v>
                </c:pt>
                <c:pt idx="78">
                  <c:v>9.8585865728382487</c:v>
                </c:pt>
                <c:pt idx="79">
                  <c:v>9.8845565306546632</c:v>
                </c:pt>
                <c:pt idx="80">
                  <c:v>9.8966848229756579</c:v>
                </c:pt>
                <c:pt idx="81">
                  <c:v>9.894661766680656</c:v>
                </c:pt>
                <c:pt idx="82">
                  <c:v>9.8783229951804969</c:v>
                </c:pt>
                <c:pt idx="83">
                  <c:v>9.8480787457956467</c:v>
                </c:pt>
                <c:pt idx="84">
                  <c:v>9.8049308377958369</c:v>
                </c:pt>
                <c:pt idx="85">
                  <c:v>9.7514291248808149</c:v>
                </c:pt>
                <c:pt idx="86">
                  <c:v>9.689556294324575</c:v>
                </c:pt>
                <c:pt idx="87">
                  <c:v>9.6191558500868268</c:v>
                </c:pt>
                <c:pt idx="88">
                  <c:v>9.5400273053091951</c:v>
                </c:pt>
                <c:pt idx="89">
                  <c:v>9.4521548709017225</c:v>
                </c:pt>
                <c:pt idx="90">
                  <c:v>9.3559003158006817</c:v>
                </c:pt>
                <c:pt idx="91">
                  <c:v>9.2522491502168123</c:v>
                </c:pt>
                <c:pt idx="92">
                  <c:v>9.1426639756828081</c:v>
                </c:pt>
                <c:pt idx="93">
                  <c:v>9.0283867571270093</c:v>
                </c:pt>
                <c:pt idx="94">
                  <c:v>8.90933048754232</c:v>
                </c:pt>
                <c:pt idx="95">
                  <c:v>8.7852924233302474</c:v>
                </c:pt>
                <c:pt idx="96">
                  <c:v>8.6563643725239672</c:v>
                </c:pt>
                <c:pt idx="97">
                  <c:v>8.5228526107675862</c:v>
                </c:pt>
                <c:pt idx="98">
                  <c:v>8.3852893574221525</c:v>
                </c:pt>
                <c:pt idx="99">
                  <c:v>8.2447583361936267</c:v>
                </c:pt>
                <c:pt idx="100">
                  <c:v>8.199109719338594</c:v>
                </c:pt>
                <c:pt idx="101">
                  <c:v>8.2201315871207044</c:v>
                </c:pt>
                <c:pt idx="102">
                  <c:v>8.2809232457366306</c:v>
                </c:pt>
                <c:pt idx="103">
                  <c:v>8.3666473571502138</c:v>
                </c:pt>
                <c:pt idx="104">
                  <c:v>8.4688029038952664</c:v>
                </c:pt>
                <c:pt idx="105">
                  <c:v>8.5830369594623335</c:v>
                </c:pt>
                <c:pt idx="106">
                  <c:v>8.7081534798780922</c:v>
                </c:pt>
                <c:pt idx="107">
                  <c:v>8.8425129036186263</c:v>
                </c:pt>
                <c:pt idx="108">
                  <c:v>8.9840597430884372</c:v>
                </c:pt>
                <c:pt idx="109">
                  <c:v>9.1294293746759649</c:v>
                </c:pt>
                <c:pt idx="110">
                  <c:v>9.2764987041882705</c:v>
                </c:pt>
                <c:pt idx="111">
                  <c:v>9.4241899214976002</c:v>
                </c:pt>
                <c:pt idx="112">
                  <c:v>9.5706246052577626</c:v>
                </c:pt>
                <c:pt idx="113">
                  <c:v>9.715997125080321</c:v>
                </c:pt>
                <c:pt idx="114">
                  <c:v>9.8604286588379182</c:v>
                </c:pt>
                <c:pt idx="115">
                  <c:v>10.002605269546621</c:v>
                </c:pt>
                <c:pt idx="116">
                  <c:v>10.141966385301203</c:v>
                </c:pt>
                <c:pt idx="117">
                  <c:v>10.277410079492256</c:v>
                </c:pt>
                <c:pt idx="118">
                  <c:v>10.408253558445722</c:v>
                </c:pt>
                <c:pt idx="119">
                  <c:v>10.534401607961627</c:v>
                </c:pt>
                <c:pt idx="120">
                  <c:v>10.656422225612914</c:v>
                </c:pt>
                <c:pt idx="121">
                  <c:v>10.774824179679854</c:v>
                </c:pt>
                <c:pt idx="122">
                  <c:v>10.889145150169497</c:v>
                </c:pt>
                <c:pt idx="123">
                  <c:v>10.998710984771606</c:v>
                </c:pt>
                <c:pt idx="124">
                  <c:v>11.103197678457946</c:v>
                </c:pt>
                <c:pt idx="125">
                  <c:v>11.202558774675708</c:v>
                </c:pt>
                <c:pt idx="126">
                  <c:v>11.297057176823728</c:v>
                </c:pt>
                <c:pt idx="127">
                  <c:v>11.387338692264166</c:v>
                </c:pt>
                <c:pt idx="128">
                  <c:v>11.473910518776393</c:v>
                </c:pt>
                <c:pt idx="129">
                  <c:v>11.556496536766645</c:v>
                </c:pt>
                <c:pt idx="130">
                  <c:v>11.634940046729753</c:v>
                </c:pt>
                <c:pt idx="131">
                  <c:v>11.789519763085991</c:v>
                </c:pt>
                <c:pt idx="132">
                  <c:v>12.000131232023705</c:v>
                </c:pt>
                <c:pt idx="133">
                  <c:v>12.257591494097142</c:v>
                </c:pt>
                <c:pt idx="134">
                  <c:v>12.560999586654361</c:v>
                </c:pt>
                <c:pt idx="135">
                  <c:v>12.913224306248594</c:v>
                </c:pt>
                <c:pt idx="136">
                  <c:v>13.31921128774411</c:v>
                </c:pt>
                <c:pt idx="137">
                  <c:v>13.783173243311467</c:v>
                </c:pt>
                <c:pt idx="138">
                  <c:v>14.307547685195459</c:v>
                </c:pt>
                <c:pt idx="139">
                  <c:v>14.894133341440465</c:v>
                </c:pt>
                <c:pt idx="140">
                  <c:v>15.542985092848539</c:v>
                </c:pt>
                <c:pt idx="141">
                  <c:v>16.254943119827658</c:v>
                </c:pt>
                <c:pt idx="142">
                  <c:v>17.030695225315867</c:v>
                </c:pt>
                <c:pt idx="143">
                  <c:v>17.869556388817728</c:v>
                </c:pt>
                <c:pt idx="144">
                  <c:v>18.772447630559327</c:v>
                </c:pt>
                <c:pt idx="145">
                  <c:v>19.740583779552253</c:v>
                </c:pt>
                <c:pt idx="146">
                  <c:v>20.774975642969366</c:v>
                </c:pt>
                <c:pt idx="147">
                  <c:v>21.87740477497573</c:v>
                </c:pt>
                <c:pt idx="148">
                  <c:v>23.050236640818184</c:v>
                </c:pt>
                <c:pt idx="149">
                  <c:v>24.296296318963869</c:v>
                </c:pt>
                <c:pt idx="150">
                  <c:v>25.617793415614869</c:v>
                </c:pt>
                <c:pt idx="151">
                  <c:v>27.017247312091058</c:v>
                </c:pt>
                <c:pt idx="152">
                  <c:v>28.497771733935224</c:v>
                </c:pt>
                <c:pt idx="153">
                  <c:v>30.062669822684256</c:v>
                </c:pt>
                <c:pt idx="154">
                  <c:v>31.715035938075744</c:v>
                </c:pt>
                <c:pt idx="155">
                  <c:v>33.459573211846873</c:v>
                </c:pt>
                <c:pt idx="156">
                  <c:v>35.301124651916325</c:v>
                </c:pt>
                <c:pt idx="157">
                  <c:v>37.243908091157209</c:v>
                </c:pt>
                <c:pt idx="158">
                  <c:v>39.293128430639626</c:v>
                </c:pt>
                <c:pt idx="159">
                  <c:v>41.452640841685934</c:v>
                </c:pt>
                <c:pt idx="160">
                  <c:v>43.726664459769381</c:v>
                </c:pt>
                <c:pt idx="161">
                  <c:v>46.699616967729526</c:v>
                </c:pt>
                <c:pt idx="162">
                  <c:v>50.255035330337705</c:v>
                </c:pt>
                <c:pt idx="163">
                  <c:v>54.301263847301016</c:v>
                </c:pt>
                <c:pt idx="164">
                  <c:v>58.809236360830255</c:v>
                </c:pt>
                <c:pt idx="165">
                  <c:v>63.782991730578942</c:v>
                </c:pt>
                <c:pt idx="166">
                  <c:v>69.248410782311112</c:v>
                </c:pt>
                <c:pt idx="167">
                  <c:v>75.243163278530119</c:v>
                </c:pt>
                <c:pt idx="168">
                  <c:v>81.803310332237743</c:v>
                </c:pt>
                <c:pt idx="169">
                  <c:v>88.974082772358088</c:v>
                </c:pt>
                <c:pt idx="170">
                  <c:v>96.794851875049062</c:v>
                </c:pt>
                <c:pt idx="171">
                  <c:v>105.31008431513328</c:v>
                </c:pt>
                <c:pt idx="172">
                  <c:v>113.33843145798892</c:v>
                </c:pt>
                <c:pt idx="173">
                  <c:v>121.38585787359625</c:v>
                </c:pt>
                <c:pt idx="174">
                  <c:v>132.29397234524367</c:v>
                </c:pt>
                <c:pt idx="175">
                  <c:v>144.19987308004056</c:v>
                </c:pt>
                <c:pt idx="176">
                  <c:v>157.5478465463093</c:v>
                </c:pt>
                <c:pt idx="177">
                  <c:v>172.25912581081502</c:v>
                </c:pt>
                <c:pt idx="178">
                  <c:v>188.16455705446424</c:v>
                </c:pt>
                <c:pt idx="179">
                  <c:v>204.54459600689006</c:v>
                </c:pt>
                <c:pt idx="180">
                  <c:v>222.03959923732327</c:v>
                </c:pt>
                <c:pt idx="181">
                  <c:v>241.51018786805798</c:v>
                </c:pt>
                <c:pt idx="182">
                  <c:v>261.98311972533702</c:v>
                </c:pt>
                <c:pt idx="183">
                  <c:v>283.88429763403838</c:v>
                </c:pt>
                <c:pt idx="184">
                  <c:v>304.67541874748537</c:v>
                </c:pt>
                <c:pt idx="185">
                  <c:v>320.83788530975113</c:v>
                </c:pt>
                <c:pt idx="186">
                  <c:v>333.89899189349876</c:v>
                </c:pt>
                <c:pt idx="187">
                  <c:v>344.85885096042415</c:v>
                </c:pt>
                <c:pt idx="188">
                  <c:v>354.46244870055813</c:v>
                </c:pt>
                <c:pt idx="189">
                  <c:v>371.14858400691298</c:v>
                </c:pt>
                <c:pt idx="190">
                  <c:v>387.20125306527888</c:v>
                </c:pt>
                <c:pt idx="191">
                  <c:v>402.78535078050567</c:v>
                </c:pt>
                <c:pt idx="192">
                  <c:v>418.25790237529753</c:v>
                </c:pt>
                <c:pt idx="193">
                  <c:v>433.25731604191242</c:v>
                </c:pt>
                <c:pt idx="194">
                  <c:v>447.79049163791325</c:v>
                </c:pt>
                <c:pt idx="195">
                  <c:v>455.25428900000043</c:v>
                </c:pt>
                <c:pt idx="196">
                  <c:v>471.67200000000048</c:v>
                </c:pt>
                <c:pt idx="197">
                  <c:v>489.23733999999968</c:v>
                </c:pt>
                <c:pt idx="198">
                  <c:v>509.62957099999949</c:v>
                </c:pt>
                <c:pt idx="199">
                  <c:v>531.42660000000069</c:v>
                </c:pt>
                <c:pt idx="200">
                  <c:v>551.48493999999846</c:v>
                </c:pt>
                <c:pt idx="201">
                  <c:v>572.26369000000159</c:v>
                </c:pt>
                <c:pt idx="202">
                  <c:v>591.83014000000003</c:v>
                </c:pt>
                <c:pt idx="203">
                  <c:v>611.09727999999996</c:v>
                </c:pt>
                <c:pt idx="204">
                  <c:v>631.99007999999958</c:v>
                </c:pt>
                <c:pt idx="205">
                  <c:v>651.73645000000033</c:v>
                </c:pt>
                <c:pt idx="206">
                  <c:v>671.68509999999878</c:v>
                </c:pt>
                <c:pt idx="207">
                  <c:v>693.36921000000075</c:v>
                </c:pt>
                <c:pt idx="208">
                  <c:v>713.41633999999976</c:v>
                </c:pt>
                <c:pt idx="209">
                  <c:v>733.05318999999872</c:v>
                </c:pt>
                <c:pt idx="210">
                  <c:v>753.34457000000111</c:v>
                </c:pt>
                <c:pt idx="211">
                  <c:v>772.86756999999852</c:v>
                </c:pt>
                <c:pt idx="212">
                  <c:v>791.68206000000282</c:v>
                </c:pt>
                <c:pt idx="213">
                  <c:v>810.55488999999943</c:v>
                </c:pt>
                <c:pt idx="214">
                  <c:v>829.12952999999834</c:v>
                </c:pt>
                <c:pt idx="215">
                  <c:v>846.60009999999966</c:v>
                </c:pt>
                <c:pt idx="216">
                  <c:v>863.20496000000276</c:v>
                </c:pt>
                <c:pt idx="217">
                  <c:v>879.44904999999926</c:v>
                </c:pt>
                <c:pt idx="218">
                  <c:v>894.21519999999873</c:v>
                </c:pt>
                <c:pt idx="219">
                  <c:v>908.18023000000176</c:v>
                </c:pt>
                <c:pt idx="220">
                  <c:v>921.83145999999761</c:v>
                </c:pt>
                <c:pt idx="221">
                  <c:v>933.67165999999997</c:v>
                </c:pt>
                <c:pt idx="222">
                  <c:v>944.54227000000174</c:v>
                </c:pt>
                <c:pt idx="223">
                  <c:v>954.18095999999787</c:v>
                </c:pt>
                <c:pt idx="224">
                  <c:v>962.53248000000167</c:v>
                </c:pt>
                <c:pt idx="225">
                  <c:v>969.56682999999975</c:v>
                </c:pt>
                <c:pt idx="226">
                  <c:v>975.25816000000123</c:v>
                </c:pt>
                <c:pt idx="227">
                  <c:v>979.57845000000088</c:v>
                </c:pt>
                <c:pt idx="228">
                  <c:v>982.50533999999607</c:v>
                </c:pt>
                <c:pt idx="229">
                  <c:v>984.02468000000226</c:v>
                </c:pt>
                <c:pt idx="230">
                  <c:v>984.13044000000082</c:v>
                </c:pt>
                <c:pt idx="231">
                  <c:v>982.82654999999795</c:v>
                </c:pt>
                <c:pt idx="232">
                  <c:v>980.12531999999919</c:v>
                </c:pt>
                <c:pt idx="233">
                  <c:v>976.04605000000447</c:v>
                </c:pt>
                <c:pt idx="234">
                  <c:v>970.61496999999508</c:v>
                </c:pt>
                <c:pt idx="235">
                  <c:v>963.86471000000165</c:v>
                </c:pt>
                <c:pt idx="236">
                  <c:v>955.83389999999781</c:v>
                </c:pt>
                <c:pt idx="237">
                  <c:v>946.56730000000243</c:v>
                </c:pt>
                <c:pt idx="238">
                  <c:v>936.11533000000054</c:v>
                </c:pt>
                <c:pt idx="239">
                  <c:v>924.5332699999999</c:v>
                </c:pt>
                <c:pt idx="240">
                  <c:v>911.88085999999748</c:v>
                </c:pt>
                <c:pt idx="241">
                  <c:v>898.22185000000172</c:v>
                </c:pt>
                <c:pt idx="242">
                  <c:v>883.62303000000247</c:v>
                </c:pt>
                <c:pt idx="243">
                  <c:v>868.15356999999494</c:v>
                </c:pt>
                <c:pt idx="244">
                  <c:v>851.88483000000269</c:v>
                </c:pt>
                <c:pt idx="245">
                  <c:v>834.88953000000038</c:v>
                </c:pt>
                <c:pt idx="246">
                  <c:v>817.24104000000079</c:v>
                </c:pt>
                <c:pt idx="247">
                  <c:v>799.01309000000037</c:v>
                </c:pt>
                <c:pt idx="248">
                  <c:v>780.2790999999997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DFA7-4D9A-8C9E-78CAA4FB84E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V2</c:v>
                </c:pt>
              </c:strCache>
            </c:strRef>
          </c:tx>
          <c:spPr>
            <a:ln w="28575" cap="rnd">
              <a:solidFill>
                <a:srgbClr val="FF99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A$2:$A$250</c:f>
              <c:numCache>
                <c:formatCode>m/d/yyyy</c:formatCode>
                <c:ptCount val="24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  <c:pt idx="219">
                  <c:v>44536</c:v>
                </c:pt>
                <c:pt idx="220">
                  <c:v>44537</c:v>
                </c:pt>
                <c:pt idx="221">
                  <c:v>44538</c:v>
                </c:pt>
                <c:pt idx="222">
                  <c:v>44539</c:v>
                </c:pt>
                <c:pt idx="223">
                  <c:v>44540</c:v>
                </c:pt>
                <c:pt idx="224">
                  <c:v>44541</c:v>
                </c:pt>
                <c:pt idx="225">
                  <c:v>44542</c:v>
                </c:pt>
                <c:pt idx="226">
                  <c:v>44543</c:v>
                </c:pt>
                <c:pt idx="227">
                  <c:v>44544</c:v>
                </c:pt>
                <c:pt idx="228">
                  <c:v>44545</c:v>
                </c:pt>
                <c:pt idx="229">
                  <c:v>44546</c:v>
                </c:pt>
                <c:pt idx="230">
                  <c:v>44547</c:v>
                </c:pt>
                <c:pt idx="231">
                  <c:v>44548</c:v>
                </c:pt>
                <c:pt idx="232">
                  <c:v>44549</c:v>
                </c:pt>
                <c:pt idx="233">
                  <c:v>44550</c:v>
                </c:pt>
                <c:pt idx="234">
                  <c:v>44551</c:v>
                </c:pt>
                <c:pt idx="235">
                  <c:v>44552</c:v>
                </c:pt>
                <c:pt idx="236">
                  <c:v>44553</c:v>
                </c:pt>
                <c:pt idx="237">
                  <c:v>44554</c:v>
                </c:pt>
                <c:pt idx="238">
                  <c:v>44555</c:v>
                </c:pt>
                <c:pt idx="239">
                  <c:v>44556</c:v>
                </c:pt>
                <c:pt idx="240">
                  <c:v>44557</c:v>
                </c:pt>
                <c:pt idx="241">
                  <c:v>44558</c:v>
                </c:pt>
                <c:pt idx="242">
                  <c:v>44559</c:v>
                </c:pt>
                <c:pt idx="243">
                  <c:v>44560</c:v>
                </c:pt>
                <c:pt idx="244">
                  <c:v>44561</c:v>
                </c:pt>
                <c:pt idx="245">
                  <c:v>44562</c:v>
                </c:pt>
                <c:pt idx="246">
                  <c:v>44563</c:v>
                </c:pt>
                <c:pt idx="247">
                  <c:v>44564</c:v>
                </c:pt>
                <c:pt idx="248">
                  <c:v>44565</c:v>
                </c:pt>
              </c:numCache>
            </c:numRef>
          </c:cat>
          <c:val>
            <c:numRef>
              <c:f>Sheet1!$C$2:$C$250</c:f>
              <c:numCache>
                <c:formatCode>General</c:formatCode>
                <c:ptCount val="249"/>
                <c:pt idx="195">
                  <c:v>437.19192800000019</c:v>
                </c:pt>
                <c:pt idx="196">
                  <c:v>446.30802399999993</c:v>
                </c:pt>
                <c:pt idx="197">
                  <c:v>455.65999899999952</c:v>
                </c:pt>
                <c:pt idx="198">
                  <c:v>466.94591899999978</c:v>
                </c:pt>
                <c:pt idx="199">
                  <c:v>478.76142000000073</c:v>
                </c:pt>
                <c:pt idx="200">
                  <c:v>487.99686999999903</c:v>
                </c:pt>
                <c:pt idx="201">
                  <c:v>497.20378000000164</c:v>
                </c:pt>
                <c:pt idx="202">
                  <c:v>504.51392999999916</c:v>
                </c:pt>
                <c:pt idx="203">
                  <c:v>510.91447999999946</c:v>
                </c:pt>
                <c:pt idx="204">
                  <c:v>518.39442000000054</c:v>
                </c:pt>
                <c:pt idx="205">
                  <c:v>524.22495999999956</c:v>
                </c:pt>
                <c:pt idx="206">
                  <c:v>529.82383000000118</c:v>
                </c:pt>
                <c:pt idx="207">
                  <c:v>536.78575999999885</c:v>
                </c:pt>
                <c:pt idx="208">
                  <c:v>541.79992000000129</c:v>
                </c:pt>
                <c:pt idx="209">
                  <c:v>546.159889999999</c:v>
                </c:pt>
                <c:pt idx="210">
                  <c:v>551.00178000000051</c:v>
                </c:pt>
                <c:pt idx="211">
                  <c:v>554.96430999999939</c:v>
                </c:pt>
                <c:pt idx="212">
                  <c:v>558.1728800000019</c:v>
                </c:pt>
                <c:pt idx="213">
                  <c:v>561.47387999999773</c:v>
                </c:pt>
                <c:pt idx="214">
                  <c:v>564.58991000000242</c:v>
                </c:pt>
                <c:pt idx="215">
                  <c:v>566.78894999999829</c:v>
                </c:pt>
                <c:pt idx="216">
                  <c:v>568.39084000000003</c:v>
                </c:pt>
                <c:pt idx="217">
                  <c:v>569.9809099999984</c:v>
                </c:pt>
                <c:pt idx="218">
                  <c:v>570.49617000000217</c:v>
                </c:pt>
                <c:pt idx="219">
                  <c:v>570.6750699999975</c:v>
                </c:pt>
                <c:pt idx="220">
                  <c:v>571.08596000000034</c:v>
                </c:pt>
                <c:pt idx="221">
                  <c:v>570.30006000000139</c:v>
                </c:pt>
                <c:pt idx="222">
                  <c:v>569.22995000000083</c:v>
                </c:pt>
                <c:pt idx="223">
                  <c:v>567.67600999999922</c:v>
                </c:pt>
                <c:pt idx="224">
                  <c:v>565.64045999999871</c:v>
                </c:pt>
                <c:pt idx="225">
                  <c:v>563.13676000000123</c:v>
                </c:pt>
                <c:pt idx="226">
                  <c:v>560.17821000000185</c:v>
                </c:pt>
                <c:pt idx="227">
                  <c:v>556.77444999999716</c:v>
                </c:pt>
                <c:pt idx="228">
                  <c:v>552.93540000000212</c:v>
                </c:pt>
                <c:pt idx="229">
                  <c:v>548.67237000000023</c:v>
                </c:pt>
                <c:pt idx="230">
                  <c:v>543.99800999999934</c:v>
                </c:pt>
                <c:pt idx="231">
                  <c:v>538.92720999999801</c:v>
                </c:pt>
                <c:pt idx="232">
                  <c:v>533.47609999999986</c:v>
                </c:pt>
                <c:pt idx="233">
                  <c:v>527.66146000000299</c:v>
                </c:pt>
                <c:pt idx="234">
                  <c:v>521.50067999999737</c:v>
                </c:pt>
                <c:pt idx="235">
                  <c:v>515.01149000000078</c:v>
                </c:pt>
                <c:pt idx="236">
                  <c:v>508.2119300000013</c:v>
                </c:pt>
                <c:pt idx="237">
                  <c:v>501.12054999999964</c:v>
                </c:pt>
                <c:pt idx="238">
                  <c:v>493.75633000000016</c:v>
                </c:pt>
                <c:pt idx="239">
                  <c:v>486.13841999999931</c:v>
                </c:pt>
                <c:pt idx="240">
                  <c:v>478.28619999999864</c:v>
                </c:pt>
                <c:pt idx="241">
                  <c:v>470.21919999999955</c:v>
                </c:pt>
                <c:pt idx="242">
                  <c:v>461.95693000000028</c:v>
                </c:pt>
                <c:pt idx="243">
                  <c:v>453.51864999999816</c:v>
                </c:pt>
                <c:pt idx="244">
                  <c:v>444.92362000000139</c:v>
                </c:pt>
                <c:pt idx="245">
                  <c:v>436.19086000000243</c:v>
                </c:pt>
                <c:pt idx="246">
                  <c:v>427.33907000000181</c:v>
                </c:pt>
                <c:pt idx="247">
                  <c:v>418.38663000000088</c:v>
                </c:pt>
                <c:pt idx="248">
                  <c:v>409.351559999995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DFA7-4D9A-8C9E-78CAA4FB84E8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V3</c:v>
                </c:pt>
              </c:strCache>
            </c:strRef>
          </c:tx>
          <c:spPr>
            <a:ln w="28575" cap="rnd">
              <a:solidFill>
                <a:srgbClr val="4472C4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250</c:f>
              <c:numCache>
                <c:formatCode>m/d/yyyy</c:formatCode>
                <c:ptCount val="24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  <c:pt idx="219">
                  <c:v>44536</c:v>
                </c:pt>
                <c:pt idx="220">
                  <c:v>44537</c:v>
                </c:pt>
                <c:pt idx="221">
                  <c:v>44538</c:v>
                </c:pt>
                <c:pt idx="222">
                  <c:v>44539</c:v>
                </c:pt>
                <c:pt idx="223">
                  <c:v>44540</c:v>
                </c:pt>
                <c:pt idx="224">
                  <c:v>44541</c:v>
                </c:pt>
                <c:pt idx="225">
                  <c:v>44542</c:v>
                </c:pt>
                <c:pt idx="226">
                  <c:v>44543</c:v>
                </c:pt>
                <c:pt idx="227">
                  <c:v>44544</c:v>
                </c:pt>
                <c:pt idx="228">
                  <c:v>44545</c:v>
                </c:pt>
                <c:pt idx="229">
                  <c:v>44546</c:v>
                </c:pt>
                <c:pt idx="230">
                  <c:v>44547</c:v>
                </c:pt>
                <c:pt idx="231">
                  <c:v>44548</c:v>
                </c:pt>
                <c:pt idx="232">
                  <c:v>44549</c:v>
                </c:pt>
                <c:pt idx="233">
                  <c:v>44550</c:v>
                </c:pt>
                <c:pt idx="234">
                  <c:v>44551</c:v>
                </c:pt>
                <c:pt idx="235">
                  <c:v>44552</c:v>
                </c:pt>
                <c:pt idx="236">
                  <c:v>44553</c:v>
                </c:pt>
                <c:pt idx="237">
                  <c:v>44554</c:v>
                </c:pt>
                <c:pt idx="238">
                  <c:v>44555</c:v>
                </c:pt>
                <c:pt idx="239">
                  <c:v>44556</c:v>
                </c:pt>
                <c:pt idx="240">
                  <c:v>44557</c:v>
                </c:pt>
                <c:pt idx="241">
                  <c:v>44558</c:v>
                </c:pt>
                <c:pt idx="242">
                  <c:v>44559</c:v>
                </c:pt>
                <c:pt idx="243">
                  <c:v>44560</c:v>
                </c:pt>
                <c:pt idx="244">
                  <c:v>44561</c:v>
                </c:pt>
                <c:pt idx="245">
                  <c:v>44562</c:v>
                </c:pt>
                <c:pt idx="246">
                  <c:v>44563</c:v>
                </c:pt>
                <c:pt idx="247">
                  <c:v>44564</c:v>
                </c:pt>
                <c:pt idx="248">
                  <c:v>44565</c:v>
                </c:pt>
              </c:numCache>
            </c:numRef>
          </c:cat>
          <c:val>
            <c:numRef>
              <c:f>Sheet1!$D$2:$D$250</c:f>
              <c:numCache>
                <c:formatCode>General</c:formatCode>
                <c:ptCount val="249"/>
                <c:pt idx="195">
                  <c:v>446.19443499999943</c:v>
                </c:pt>
                <c:pt idx="196">
                  <c:v>458.91515900000013</c:v>
                </c:pt>
                <c:pt idx="197">
                  <c:v>472.29685600000084</c:v>
                </c:pt>
                <c:pt idx="198">
                  <c:v>488.02214999999887</c:v>
                </c:pt>
                <c:pt idx="199">
                  <c:v>504.67244000000028</c:v>
                </c:pt>
                <c:pt idx="200">
                  <c:v>519.11635999999999</c:v>
                </c:pt>
                <c:pt idx="201">
                  <c:v>533.85488000000078</c:v>
                </c:pt>
                <c:pt idx="202">
                  <c:v>546.98383999999896</c:v>
                </c:pt>
                <c:pt idx="203">
                  <c:v>559.45048000000133</c:v>
                </c:pt>
                <c:pt idx="204">
                  <c:v>573.20974000000024</c:v>
                </c:pt>
                <c:pt idx="205">
                  <c:v>585.50998999999865</c:v>
                </c:pt>
                <c:pt idx="206">
                  <c:v>597.73451999999997</c:v>
                </c:pt>
                <c:pt idx="207">
                  <c:v>611.44828000000052</c:v>
                </c:pt>
                <c:pt idx="208">
                  <c:v>623.31165999999939</c:v>
                </c:pt>
                <c:pt idx="209">
                  <c:v>634.58747000000221</c:v>
                </c:pt>
                <c:pt idx="210">
                  <c:v>646.38015999999698</c:v>
                </c:pt>
                <c:pt idx="211">
                  <c:v>657.30217000000266</c:v>
                </c:pt>
                <c:pt idx="212">
                  <c:v>667.4515399999982</c:v>
                </c:pt>
                <c:pt idx="213">
                  <c:v>677.64184000000023</c:v>
                </c:pt>
                <c:pt idx="214">
                  <c:v>687.56370999999854</c:v>
                </c:pt>
                <c:pt idx="215">
                  <c:v>696.45675000000119</c:v>
                </c:pt>
                <c:pt idx="216">
                  <c:v>704.60895000000164</c:v>
                </c:pt>
                <c:pt idx="217">
                  <c:v>712.57494999999835</c:v>
                </c:pt>
                <c:pt idx="218">
                  <c:v>719.27361000000019</c:v>
                </c:pt>
                <c:pt idx="219">
                  <c:v>725.42180000000008</c:v>
                </c:pt>
                <c:pt idx="220">
                  <c:v>731.55783000000156</c:v>
                </c:pt>
                <c:pt idx="221">
                  <c:v>736.22897000000012</c:v>
                </c:pt>
                <c:pt idx="222">
                  <c:v>740.32225999999719</c:v>
                </c:pt>
                <c:pt idx="223">
                  <c:v>743.61631000000125</c:v>
                </c:pt>
                <c:pt idx="224">
                  <c:v>746.09372000000076</c:v>
                </c:pt>
                <c:pt idx="225">
                  <c:v>747.75427000000127</c:v>
                </c:pt>
                <c:pt idx="226">
                  <c:v>748.59911999999895</c:v>
                </c:pt>
                <c:pt idx="227">
                  <c:v>748.62589999999909</c:v>
                </c:pt>
                <c:pt idx="228">
                  <c:v>747.83424999999988</c:v>
                </c:pt>
                <c:pt idx="229">
                  <c:v>746.22767000000022</c:v>
                </c:pt>
                <c:pt idx="230">
                  <c:v>743.8132399999995</c:v>
                </c:pt>
                <c:pt idx="231">
                  <c:v>740.60294000000067</c:v>
                </c:pt>
                <c:pt idx="232">
                  <c:v>736.61246000000028</c:v>
                </c:pt>
                <c:pt idx="233">
                  <c:v>731.86009999999806</c:v>
                </c:pt>
                <c:pt idx="234">
                  <c:v>726.36680999999953</c:v>
                </c:pt>
                <c:pt idx="235">
                  <c:v>720.15583000000333</c:v>
                </c:pt>
                <c:pt idx="236">
                  <c:v>713.25243999999657</c:v>
                </c:pt>
                <c:pt idx="237">
                  <c:v>705.68431000000419</c:v>
                </c:pt>
                <c:pt idx="238">
                  <c:v>697.48115999999573</c:v>
                </c:pt>
                <c:pt idx="239">
                  <c:v>688.67442999999912</c:v>
                </c:pt>
                <c:pt idx="240">
                  <c:v>679.29715000000579</c:v>
                </c:pt>
                <c:pt idx="241">
                  <c:v>669.38380999999936</c:v>
                </c:pt>
                <c:pt idx="242">
                  <c:v>658.96985999999742</c:v>
                </c:pt>
                <c:pt idx="243">
                  <c:v>648.09144000000379</c:v>
                </c:pt>
                <c:pt idx="244">
                  <c:v>636.78546999999526</c:v>
                </c:pt>
                <c:pt idx="245">
                  <c:v>625.08927000000403</c:v>
                </c:pt>
                <c:pt idx="246">
                  <c:v>613.04020999999921</c:v>
                </c:pt>
                <c:pt idx="247">
                  <c:v>600.67577000000165</c:v>
                </c:pt>
                <c:pt idx="248">
                  <c:v>588.0331399999995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DFA7-4D9A-8C9E-78CAA4FB84E8}"/>
            </c:ext>
          </c:extLst>
        </c:ser>
        <c:ser>
          <c:idx val="4"/>
          <c:order val="3"/>
          <c:tx>
            <c:strRef>
              <c:f>Sheet1!$F$1</c:f>
              <c:strCache>
                <c:ptCount val="1"/>
                <c:pt idx="0">
                  <c:v>C</c:v>
                </c:pt>
              </c:strCache>
            </c:strRef>
          </c:tx>
          <c:spPr>
            <a:ln w="28575" cap="rnd">
              <a:solidFill>
                <a:srgbClr val="FF9900"/>
              </a:solidFill>
              <a:round/>
            </a:ln>
            <a:effectLst/>
          </c:spPr>
          <c:marker>
            <c:symbol val="none"/>
          </c:marker>
          <c:cat>
            <c:numRef>
              <c:f>Sheet1!$A$2:$A$250</c:f>
              <c:numCache>
                <c:formatCode>m/d/yyyy</c:formatCode>
                <c:ptCount val="24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  <c:pt idx="219">
                  <c:v>44536</c:v>
                </c:pt>
                <c:pt idx="220">
                  <c:v>44537</c:v>
                </c:pt>
                <c:pt idx="221">
                  <c:v>44538</c:v>
                </c:pt>
                <c:pt idx="222">
                  <c:v>44539</c:v>
                </c:pt>
                <c:pt idx="223">
                  <c:v>44540</c:v>
                </c:pt>
                <c:pt idx="224">
                  <c:v>44541</c:v>
                </c:pt>
                <c:pt idx="225">
                  <c:v>44542</c:v>
                </c:pt>
                <c:pt idx="226">
                  <c:v>44543</c:v>
                </c:pt>
                <c:pt idx="227">
                  <c:v>44544</c:v>
                </c:pt>
                <c:pt idx="228">
                  <c:v>44545</c:v>
                </c:pt>
                <c:pt idx="229">
                  <c:v>44546</c:v>
                </c:pt>
                <c:pt idx="230">
                  <c:v>44547</c:v>
                </c:pt>
                <c:pt idx="231">
                  <c:v>44548</c:v>
                </c:pt>
                <c:pt idx="232">
                  <c:v>44549</c:v>
                </c:pt>
                <c:pt idx="233">
                  <c:v>44550</c:v>
                </c:pt>
                <c:pt idx="234">
                  <c:v>44551</c:v>
                </c:pt>
                <c:pt idx="235">
                  <c:v>44552</c:v>
                </c:pt>
                <c:pt idx="236">
                  <c:v>44553</c:v>
                </c:pt>
                <c:pt idx="237">
                  <c:v>44554</c:v>
                </c:pt>
                <c:pt idx="238">
                  <c:v>44555</c:v>
                </c:pt>
                <c:pt idx="239">
                  <c:v>44556</c:v>
                </c:pt>
                <c:pt idx="240">
                  <c:v>44557</c:v>
                </c:pt>
                <c:pt idx="241">
                  <c:v>44558</c:v>
                </c:pt>
                <c:pt idx="242">
                  <c:v>44559</c:v>
                </c:pt>
                <c:pt idx="243">
                  <c:v>44560</c:v>
                </c:pt>
                <c:pt idx="244">
                  <c:v>44561</c:v>
                </c:pt>
                <c:pt idx="245">
                  <c:v>44562</c:v>
                </c:pt>
                <c:pt idx="246">
                  <c:v>44563</c:v>
                </c:pt>
                <c:pt idx="247">
                  <c:v>44564</c:v>
                </c:pt>
                <c:pt idx="248">
                  <c:v>44565</c:v>
                </c:pt>
              </c:numCache>
            </c:numRef>
          </c:cat>
          <c:val>
            <c:numRef>
              <c:f>Sheet1!$F$2:$F$250</c:f>
              <c:numCache>
                <c:formatCode>General</c:formatCode>
                <c:ptCount val="249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DFA7-4D9A-8C9E-78CAA4FB84E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093791"/>
        <c:axId val="209778303"/>
      </c:lineChart>
      <c:catAx>
        <c:axId val="20709379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9778303"/>
        <c:crosses val="autoZero"/>
        <c:auto val="1"/>
        <c:lblAlgn val="ctr"/>
        <c:lblOffset val="100"/>
        <c:tickLblSkip val="7"/>
        <c:noMultiLvlLbl val="1"/>
      </c:catAx>
      <c:valAx>
        <c:axId val="20977830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70937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1"/>
        <c:delete val="1"/>
      </c:legendEntry>
      <c:legendEntry>
        <c:idx val="2"/>
        <c:delete val="1"/>
      </c:legendEntry>
      <c:legendEntry>
        <c:idx val="3"/>
        <c:delete val="1"/>
      </c:legendEntry>
      <c:legendEntry>
        <c:idx val="4"/>
        <c:delete val="1"/>
      </c:legendEntry>
      <c:layout>
        <c:manualLayout>
          <c:xMode val="edge"/>
          <c:yMode val="edge"/>
          <c:x val="0.20000242690338468"/>
          <c:y val="4.6874997116449491E-2"/>
          <c:w val="0.14188217964413682"/>
          <c:h val="4.7962349411764922E-2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5"/>
          <c:order val="4"/>
          <c:tx>
            <c:strRef>
              <c:f>Sheet1!$G$1</c:f>
              <c:strCache>
                <c:ptCount val="1"/>
                <c:pt idx="0">
                  <c:v>Reálná data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250</c:f>
              <c:numCache>
                <c:formatCode>m/d/yyyy</c:formatCode>
                <c:ptCount val="24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  <c:pt idx="219">
                  <c:v>44536</c:v>
                </c:pt>
                <c:pt idx="220">
                  <c:v>44537</c:v>
                </c:pt>
                <c:pt idx="221">
                  <c:v>44538</c:v>
                </c:pt>
                <c:pt idx="222">
                  <c:v>44539</c:v>
                </c:pt>
                <c:pt idx="223">
                  <c:v>44540</c:v>
                </c:pt>
                <c:pt idx="224">
                  <c:v>44541</c:v>
                </c:pt>
                <c:pt idx="225">
                  <c:v>44542</c:v>
                </c:pt>
                <c:pt idx="226">
                  <c:v>44543</c:v>
                </c:pt>
                <c:pt idx="227">
                  <c:v>44544</c:v>
                </c:pt>
                <c:pt idx="228">
                  <c:v>44545</c:v>
                </c:pt>
                <c:pt idx="229">
                  <c:v>44546</c:v>
                </c:pt>
                <c:pt idx="230">
                  <c:v>44547</c:v>
                </c:pt>
                <c:pt idx="231">
                  <c:v>44548</c:v>
                </c:pt>
                <c:pt idx="232">
                  <c:v>44549</c:v>
                </c:pt>
                <c:pt idx="233">
                  <c:v>44550</c:v>
                </c:pt>
                <c:pt idx="234">
                  <c:v>44551</c:v>
                </c:pt>
                <c:pt idx="235">
                  <c:v>44552</c:v>
                </c:pt>
                <c:pt idx="236">
                  <c:v>44553</c:v>
                </c:pt>
                <c:pt idx="237">
                  <c:v>44554</c:v>
                </c:pt>
                <c:pt idx="238">
                  <c:v>44555</c:v>
                </c:pt>
                <c:pt idx="239">
                  <c:v>44556</c:v>
                </c:pt>
                <c:pt idx="240">
                  <c:v>44557</c:v>
                </c:pt>
                <c:pt idx="241">
                  <c:v>44558</c:v>
                </c:pt>
                <c:pt idx="242">
                  <c:v>44559</c:v>
                </c:pt>
                <c:pt idx="243">
                  <c:v>44560</c:v>
                </c:pt>
                <c:pt idx="244">
                  <c:v>44561</c:v>
                </c:pt>
                <c:pt idx="245">
                  <c:v>44562</c:v>
                </c:pt>
                <c:pt idx="246">
                  <c:v>44563</c:v>
                </c:pt>
                <c:pt idx="247">
                  <c:v>44564</c:v>
                </c:pt>
                <c:pt idx="248">
                  <c:v>44565</c:v>
                </c:pt>
              </c:numCache>
            </c:numRef>
          </c:cat>
          <c:val>
            <c:numRef>
              <c:f>Sheet1!$G$2:$G$250</c:f>
              <c:numCache>
                <c:formatCode>General</c:formatCode>
                <c:ptCount val="249"/>
                <c:pt idx="0">
                  <c:v>2485</c:v>
                </c:pt>
                <c:pt idx="1">
                  <c:v>2510</c:v>
                </c:pt>
                <c:pt idx="2">
                  <c:v>2706</c:v>
                </c:pt>
                <c:pt idx="3">
                  <c:v>2554</c:v>
                </c:pt>
                <c:pt idx="4">
                  <c:v>2379</c:v>
                </c:pt>
                <c:pt idx="5">
                  <c:v>2241</c:v>
                </c:pt>
                <c:pt idx="6">
                  <c:v>2145</c:v>
                </c:pt>
                <c:pt idx="7">
                  <c:v>1900</c:v>
                </c:pt>
                <c:pt idx="8">
                  <c:v>1882</c:v>
                </c:pt>
                <c:pt idx="9">
                  <c:v>2006</c:v>
                </c:pt>
                <c:pt idx="10">
                  <c:v>1852</c:v>
                </c:pt>
                <c:pt idx="11">
                  <c:v>1740</c:v>
                </c:pt>
                <c:pt idx="12">
                  <c:v>1644</c:v>
                </c:pt>
                <c:pt idx="13">
                  <c:v>1556</c:v>
                </c:pt>
                <c:pt idx="14">
                  <c:v>1353</c:v>
                </c:pt>
                <c:pt idx="15">
                  <c:v>1339</c:v>
                </c:pt>
                <c:pt idx="16">
                  <c:v>1418</c:v>
                </c:pt>
                <c:pt idx="17">
                  <c:v>1278</c:v>
                </c:pt>
                <c:pt idx="18">
                  <c:v>1169</c:v>
                </c:pt>
                <c:pt idx="19">
                  <c:v>1081</c:v>
                </c:pt>
                <c:pt idx="20">
                  <c:v>1031</c:v>
                </c:pt>
                <c:pt idx="21">
                  <c:v>885</c:v>
                </c:pt>
                <c:pt idx="22">
                  <c:v>866</c:v>
                </c:pt>
                <c:pt idx="23">
                  <c:v>898</c:v>
                </c:pt>
                <c:pt idx="24">
                  <c:v>804</c:v>
                </c:pt>
                <c:pt idx="25">
                  <c:v>776</c:v>
                </c:pt>
                <c:pt idx="26">
                  <c:v>680</c:v>
                </c:pt>
                <c:pt idx="27">
                  <c:v>626</c:v>
                </c:pt>
                <c:pt idx="28">
                  <c:v>522</c:v>
                </c:pt>
                <c:pt idx="29">
                  <c:v>520</c:v>
                </c:pt>
                <c:pt idx="30">
                  <c:v>558</c:v>
                </c:pt>
                <c:pt idx="31">
                  <c:v>480</c:v>
                </c:pt>
                <c:pt idx="32">
                  <c:v>445</c:v>
                </c:pt>
                <c:pt idx="33">
                  <c:v>396</c:v>
                </c:pt>
                <c:pt idx="34">
                  <c:v>369</c:v>
                </c:pt>
                <c:pt idx="35">
                  <c:v>304</c:v>
                </c:pt>
                <c:pt idx="36">
                  <c:v>304</c:v>
                </c:pt>
                <c:pt idx="37">
                  <c:v>306</c:v>
                </c:pt>
                <c:pt idx="38">
                  <c:v>290</c:v>
                </c:pt>
                <c:pt idx="39">
                  <c:v>262</c:v>
                </c:pt>
                <c:pt idx="40">
                  <c:v>239</c:v>
                </c:pt>
                <c:pt idx="41">
                  <c:v>190</c:v>
                </c:pt>
                <c:pt idx="42">
                  <c:v>163</c:v>
                </c:pt>
                <c:pt idx="43">
                  <c:v>155</c:v>
                </c:pt>
                <c:pt idx="44">
                  <c:v>171</c:v>
                </c:pt>
                <c:pt idx="45">
                  <c:v>144</c:v>
                </c:pt>
                <c:pt idx="46">
                  <c:v>123</c:v>
                </c:pt>
                <c:pt idx="47">
                  <c:v>122</c:v>
                </c:pt>
                <c:pt idx="48">
                  <c:v>114</c:v>
                </c:pt>
                <c:pt idx="49">
                  <c:v>91</c:v>
                </c:pt>
                <c:pt idx="50">
                  <c:v>89</c:v>
                </c:pt>
                <c:pt idx="51">
                  <c:v>94</c:v>
                </c:pt>
                <c:pt idx="52">
                  <c:v>90</c:v>
                </c:pt>
                <c:pt idx="53">
                  <c:v>87</c:v>
                </c:pt>
                <c:pt idx="54">
                  <c:v>84</c:v>
                </c:pt>
                <c:pt idx="55">
                  <c:v>70</c:v>
                </c:pt>
                <c:pt idx="56">
                  <c:v>58</c:v>
                </c:pt>
                <c:pt idx="57">
                  <c:v>59</c:v>
                </c:pt>
                <c:pt idx="58">
                  <c:v>65</c:v>
                </c:pt>
                <c:pt idx="59">
                  <c:v>60</c:v>
                </c:pt>
                <c:pt idx="60">
                  <c:v>60</c:v>
                </c:pt>
                <c:pt idx="61">
                  <c:v>50</c:v>
                </c:pt>
                <c:pt idx="62">
                  <c:v>41</c:v>
                </c:pt>
                <c:pt idx="63">
                  <c:v>30</c:v>
                </c:pt>
                <c:pt idx="64">
                  <c:v>33</c:v>
                </c:pt>
                <c:pt idx="65">
                  <c:v>35</c:v>
                </c:pt>
                <c:pt idx="66">
                  <c:v>34</c:v>
                </c:pt>
                <c:pt idx="67">
                  <c:v>44</c:v>
                </c:pt>
                <c:pt idx="68">
                  <c:v>41</c:v>
                </c:pt>
                <c:pt idx="69">
                  <c:v>37</c:v>
                </c:pt>
                <c:pt idx="70">
                  <c:v>26</c:v>
                </c:pt>
                <c:pt idx="71">
                  <c:v>26</c:v>
                </c:pt>
                <c:pt idx="72">
                  <c:v>35</c:v>
                </c:pt>
                <c:pt idx="73">
                  <c:v>33</c:v>
                </c:pt>
                <c:pt idx="74">
                  <c:v>31</c:v>
                </c:pt>
                <c:pt idx="75">
                  <c:v>32</c:v>
                </c:pt>
                <c:pt idx="76">
                  <c:v>35</c:v>
                </c:pt>
                <c:pt idx="77">
                  <c:v>33</c:v>
                </c:pt>
                <c:pt idx="78">
                  <c:v>35</c:v>
                </c:pt>
                <c:pt idx="79">
                  <c:v>49</c:v>
                </c:pt>
                <c:pt idx="80">
                  <c:v>45</c:v>
                </c:pt>
                <c:pt idx="81">
                  <c:v>47</c:v>
                </c:pt>
                <c:pt idx="82">
                  <c:v>46</c:v>
                </c:pt>
                <c:pt idx="83">
                  <c:v>46</c:v>
                </c:pt>
                <c:pt idx="84">
                  <c:v>43</c:v>
                </c:pt>
                <c:pt idx="85">
                  <c:v>50</c:v>
                </c:pt>
                <c:pt idx="86">
                  <c:v>62</c:v>
                </c:pt>
                <c:pt idx="87">
                  <c:v>55</c:v>
                </c:pt>
                <c:pt idx="88">
                  <c:v>55</c:v>
                </c:pt>
                <c:pt idx="89">
                  <c:v>62</c:v>
                </c:pt>
                <c:pt idx="90">
                  <c:v>62</c:v>
                </c:pt>
                <c:pt idx="91">
                  <c:v>58</c:v>
                </c:pt>
                <c:pt idx="92">
                  <c:v>52</c:v>
                </c:pt>
                <c:pt idx="93">
                  <c:v>61</c:v>
                </c:pt>
                <c:pt idx="94">
                  <c:v>57</c:v>
                </c:pt>
                <c:pt idx="95">
                  <c:v>59</c:v>
                </c:pt>
                <c:pt idx="96">
                  <c:v>60</c:v>
                </c:pt>
                <c:pt idx="97">
                  <c:v>60</c:v>
                </c:pt>
                <c:pt idx="98">
                  <c:v>59</c:v>
                </c:pt>
                <c:pt idx="99">
                  <c:v>58</c:v>
                </c:pt>
                <c:pt idx="100">
                  <c:v>68</c:v>
                </c:pt>
                <c:pt idx="101">
                  <c:v>63</c:v>
                </c:pt>
                <c:pt idx="102">
                  <c:v>65</c:v>
                </c:pt>
                <c:pt idx="103">
                  <c:v>65</c:v>
                </c:pt>
                <c:pt idx="104">
                  <c:v>56</c:v>
                </c:pt>
                <c:pt idx="105">
                  <c:v>59</c:v>
                </c:pt>
                <c:pt idx="106">
                  <c:v>61</c:v>
                </c:pt>
                <c:pt idx="107">
                  <c:v>74</c:v>
                </c:pt>
                <c:pt idx="108">
                  <c:v>74</c:v>
                </c:pt>
                <c:pt idx="109">
                  <c:v>78</c:v>
                </c:pt>
                <c:pt idx="110">
                  <c:v>73</c:v>
                </c:pt>
                <c:pt idx="111">
                  <c:v>72</c:v>
                </c:pt>
                <c:pt idx="112">
                  <c:v>61</c:v>
                </c:pt>
                <c:pt idx="113">
                  <c:v>66</c:v>
                </c:pt>
                <c:pt idx="114">
                  <c:v>72</c:v>
                </c:pt>
                <c:pt idx="115">
                  <c:v>69</c:v>
                </c:pt>
                <c:pt idx="116">
                  <c:v>73</c:v>
                </c:pt>
                <c:pt idx="117">
                  <c:v>71</c:v>
                </c:pt>
                <c:pt idx="118">
                  <c:v>62</c:v>
                </c:pt>
                <c:pt idx="119">
                  <c:v>56</c:v>
                </c:pt>
                <c:pt idx="120">
                  <c:v>55</c:v>
                </c:pt>
                <c:pt idx="121">
                  <c:v>61</c:v>
                </c:pt>
                <c:pt idx="122">
                  <c:v>56</c:v>
                </c:pt>
                <c:pt idx="123">
                  <c:v>63</c:v>
                </c:pt>
                <c:pt idx="124">
                  <c:v>66</c:v>
                </c:pt>
                <c:pt idx="125">
                  <c:v>64</c:v>
                </c:pt>
                <c:pt idx="126">
                  <c:v>61</c:v>
                </c:pt>
                <c:pt idx="127">
                  <c:v>69</c:v>
                </c:pt>
                <c:pt idx="128">
                  <c:v>92</c:v>
                </c:pt>
                <c:pt idx="129">
                  <c:v>97</c:v>
                </c:pt>
                <c:pt idx="130">
                  <c:v>102</c:v>
                </c:pt>
                <c:pt idx="131">
                  <c:v>113</c:v>
                </c:pt>
                <c:pt idx="132">
                  <c:v>117</c:v>
                </c:pt>
                <c:pt idx="133">
                  <c:v>115</c:v>
                </c:pt>
                <c:pt idx="134">
                  <c:v>127</c:v>
                </c:pt>
                <c:pt idx="135">
                  <c:v>157</c:v>
                </c:pt>
                <c:pt idx="136">
                  <c:v>164</c:v>
                </c:pt>
                <c:pt idx="137">
                  <c:v>168</c:v>
                </c:pt>
                <c:pt idx="138">
                  <c:v>166</c:v>
                </c:pt>
                <c:pt idx="139">
                  <c:v>182</c:v>
                </c:pt>
                <c:pt idx="140">
                  <c:v>161</c:v>
                </c:pt>
                <c:pt idx="141">
                  <c:v>164</c:v>
                </c:pt>
                <c:pt idx="142">
                  <c:v>185</c:v>
                </c:pt>
                <c:pt idx="143">
                  <c:v>180</c:v>
                </c:pt>
                <c:pt idx="144">
                  <c:v>182</c:v>
                </c:pt>
                <c:pt idx="145">
                  <c:v>183</c:v>
                </c:pt>
                <c:pt idx="146">
                  <c:v>188</c:v>
                </c:pt>
                <c:pt idx="147">
                  <c:v>188</c:v>
                </c:pt>
                <c:pt idx="148">
                  <c:v>197</c:v>
                </c:pt>
                <c:pt idx="149">
                  <c:v>229</c:v>
                </c:pt>
                <c:pt idx="150">
                  <c:v>226</c:v>
                </c:pt>
                <c:pt idx="151">
                  <c:v>253</c:v>
                </c:pt>
                <c:pt idx="152">
                  <c:v>251</c:v>
                </c:pt>
                <c:pt idx="153">
                  <c:v>244</c:v>
                </c:pt>
                <c:pt idx="154">
                  <c:v>234</c:v>
                </c:pt>
                <c:pt idx="155">
                  <c:v>247</c:v>
                </c:pt>
                <c:pt idx="156">
                  <c:v>302</c:v>
                </c:pt>
                <c:pt idx="157">
                  <c:v>302</c:v>
                </c:pt>
                <c:pt idx="158">
                  <c:v>327</c:v>
                </c:pt>
                <c:pt idx="159">
                  <c:v>316</c:v>
                </c:pt>
                <c:pt idx="160">
                  <c:v>344</c:v>
                </c:pt>
                <c:pt idx="161">
                  <c:v>333</c:v>
                </c:pt>
                <c:pt idx="162">
                  <c:v>350</c:v>
                </c:pt>
                <c:pt idx="163">
                  <c:v>425</c:v>
                </c:pt>
                <c:pt idx="164">
                  <c:v>444</c:v>
                </c:pt>
                <c:pt idx="165">
                  <c:v>470</c:v>
                </c:pt>
                <c:pt idx="166">
                  <c:v>496</c:v>
                </c:pt>
                <c:pt idx="167">
                  <c:v>527</c:v>
                </c:pt>
                <c:pt idx="168">
                  <c:v>515</c:v>
                </c:pt>
                <c:pt idx="169">
                  <c:v>541</c:v>
                </c:pt>
                <c:pt idx="170">
                  <c:v>662</c:v>
                </c:pt>
                <c:pt idx="171">
                  <c:v>725</c:v>
                </c:pt>
                <c:pt idx="172">
                  <c:v>795</c:v>
                </c:pt>
                <c:pt idx="173">
                  <c:v>839</c:v>
                </c:pt>
                <c:pt idx="174">
                  <c:v>921</c:v>
                </c:pt>
                <c:pt idx="175">
                  <c:v>929</c:v>
                </c:pt>
                <c:pt idx="176">
                  <c:v>992</c:v>
                </c:pt>
                <c:pt idx="177">
                  <c:v>1173</c:v>
                </c:pt>
                <c:pt idx="178">
                  <c:v>1294</c:v>
                </c:pt>
                <c:pt idx="179">
                  <c:v>1396</c:v>
                </c:pt>
                <c:pt idx="180">
                  <c:v>1391</c:v>
                </c:pt>
                <c:pt idx="181">
                  <c:v>1578</c:v>
                </c:pt>
                <c:pt idx="182">
                  <c:v>1597</c:v>
                </c:pt>
                <c:pt idx="183">
                  <c:v>1730</c:v>
                </c:pt>
                <c:pt idx="184">
                  <c:v>2103</c:v>
                </c:pt>
                <c:pt idx="185">
                  <c:v>2292</c:v>
                </c:pt>
                <c:pt idx="186">
                  <c:v>2495</c:v>
                </c:pt>
                <c:pt idx="187">
                  <c:v>2657</c:v>
                </c:pt>
                <c:pt idx="188">
                  <c:v>2801</c:v>
                </c:pt>
                <c:pt idx="189">
                  <c:v>2801</c:v>
                </c:pt>
                <c:pt idx="190">
                  <c:v>2952</c:v>
                </c:pt>
                <c:pt idx="191">
                  <c:v>3412</c:v>
                </c:pt>
                <c:pt idx="192">
                  <c:v>3609</c:v>
                </c:pt>
                <c:pt idx="193">
                  <c:v>3756</c:v>
                </c:pt>
                <c:pt idx="194">
                  <c:v>3885</c:v>
                </c:pt>
                <c:pt idx="195">
                  <c:v>4048</c:v>
                </c:pt>
                <c:pt idx="196">
                  <c:v>3988</c:v>
                </c:pt>
                <c:pt idx="197">
                  <c:v>4130</c:v>
                </c:pt>
                <c:pt idx="198">
                  <c:v>4779</c:v>
                </c:pt>
                <c:pt idx="199">
                  <c:v>4852</c:v>
                </c:pt>
                <c:pt idx="200">
                  <c:v>4813</c:v>
                </c:pt>
                <c:pt idx="201">
                  <c:v>5179</c:v>
                </c:pt>
                <c:pt idx="202">
                  <c:v>5303</c:v>
                </c:pt>
                <c:pt idx="203">
                  <c:v>5194</c:v>
                </c:pt>
                <c:pt idx="204">
                  <c:v>5397</c:v>
                </c:pt>
                <c:pt idx="205">
                  <c:v>5983</c:v>
                </c:pt>
                <c:pt idx="206">
                  <c:v>6102</c:v>
                </c:pt>
                <c:pt idx="207">
                  <c:v>6197</c:v>
                </c:pt>
                <c:pt idx="208">
                  <c:v>6304</c:v>
                </c:pt>
                <c:pt idx="209">
                  <c:v>6402</c:v>
                </c:pt>
                <c:pt idx="210">
                  <c:v>6190</c:v>
                </c:pt>
                <c:pt idx="211">
                  <c:v>6386</c:v>
                </c:pt>
                <c:pt idx="212">
                  <c:v>7050</c:v>
                </c:pt>
                <c:pt idx="213">
                  <c:v>6987</c:v>
                </c:pt>
                <c:pt idx="214">
                  <c:v>6919</c:v>
                </c:pt>
                <c:pt idx="215">
                  <c:v>6969</c:v>
                </c:pt>
                <c:pt idx="216">
                  <c:v>6925</c:v>
                </c:pt>
                <c:pt idx="217">
                  <c:v>64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EDB9-4256-AE28-72A2561918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07093791"/>
        <c:axId val="209778303"/>
      </c:barChart>
      <c:lineChart>
        <c:grouping val="standard"/>
        <c:varyColors val="0"/>
        <c:ser>
          <c:idx val="0"/>
          <c:order val="0"/>
          <c:tx>
            <c:strRef>
              <c:f>Sheet1!$E$1</c:f>
              <c:strCache>
                <c:ptCount val="1"/>
                <c:pt idx="0">
                  <c:v>B</c:v>
                </c:pt>
              </c:strCache>
            </c:strRef>
          </c:tx>
          <c:spPr>
            <a:ln w="28575" cap="rnd">
              <a:solidFill>
                <a:srgbClr val="C00000"/>
              </a:solidFill>
              <a:prstDash val="sysDot"/>
              <a:round/>
            </a:ln>
            <a:effectLst/>
          </c:spPr>
          <c:marker>
            <c:symbol val="none"/>
          </c:marker>
          <c:val>
            <c:numRef>
              <c:f>Sheet1!$E$2:$E$250</c:f>
              <c:numCache>
                <c:formatCode>General</c:formatCode>
                <c:ptCount val="249"/>
                <c:pt idx="0">
                  <c:v>2525.7390516979985</c:v>
                </c:pt>
                <c:pt idx="1">
                  <c:v>2391.4098182899047</c:v>
                </c:pt>
                <c:pt idx="2">
                  <c:v>2263.2741588644108</c:v>
                </c:pt>
                <c:pt idx="3">
                  <c:v>2140.9069226927459</c:v>
                </c:pt>
                <c:pt idx="4">
                  <c:v>2019.2681422958262</c:v>
                </c:pt>
                <c:pt idx="5">
                  <c:v>1909.1947317888748</c:v>
                </c:pt>
                <c:pt idx="6">
                  <c:v>1808.4107742140136</c:v>
                </c:pt>
                <c:pt idx="7">
                  <c:v>1719.692225522188</c:v>
                </c:pt>
                <c:pt idx="8">
                  <c:v>1637.0557701248508</c:v>
                </c:pt>
                <c:pt idx="9">
                  <c:v>1558.4304723361834</c:v>
                </c:pt>
                <c:pt idx="10">
                  <c:v>1482.9872044228273</c:v>
                </c:pt>
                <c:pt idx="11">
                  <c:v>1407.4288362094478</c:v>
                </c:pt>
                <c:pt idx="12">
                  <c:v>1336.3567979437712</c:v>
                </c:pt>
                <c:pt idx="13">
                  <c:v>1272.2803785257952</c:v>
                </c:pt>
                <c:pt idx="14">
                  <c:v>1211.6266712349677</c:v>
                </c:pt>
                <c:pt idx="15">
                  <c:v>1156.5243389761108</c:v>
                </c:pt>
                <c:pt idx="16">
                  <c:v>1105.3271324579944</c:v>
                </c:pt>
                <c:pt idx="17">
                  <c:v>1054.2821331499508</c:v>
                </c:pt>
                <c:pt idx="18">
                  <c:v>1005.7693967023961</c:v>
                </c:pt>
                <c:pt idx="19">
                  <c:v>959.4669632833851</c:v>
                </c:pt>
                <c:pt idx="20">
                  <c:v>915.20860268159595</c:v>
                </c:pt>
                <c:pt idx="21">
                  <c:v>871.98229828032413</c:v>
                </c:pt>
                <c:pt idx="22">
                  <c:v>830.70034069792518</c:v>
                </c:pt>
                <c:pt idx="23">
                  <c:v>790.02156007075087</c:v>
                </c:pt>
                <c:pt idx="24">
                  <c:v>750.46944220392027</c:v>
                </c:pt>
                <c:pt idx="25">
                  <c:v>711.06544283787059</c:v>
                </c:pt>
                <c:pt idx="26">
                  <c:v>673.60762179203607</c:v>
                </c:pt>
                <c:pt idx="27">
                  <c:v>637.42132631192135</c:v>
                </c:pt>
                <c:pt idx="28">
                  <c:v>602.69148715149117</c:v>
                </c:pt>
                <c:pt idx="29">
                  <c:v>569.4915707361655</c:v>
                </c:pt>
                <c:pt idx="30">
                  <c:v>537.58373221984868</c:v>
                </c:pt>
                <c:pt idx="31">
                  <c:v>506.69934554324084</c:v>
                </c:pt>
                <c:pt idx="32">
                  <c:v>476.87495247939916</c:v>
                </c:pt>
                <c:pt idx="33">
                  <c:v>448.80812284339606</c:v>
                </c:pt>
                <c:pt idx="34">
                  <c:v>421.80452315131345</c:v>
                </c:pt>
                <c:pt idx="35">
                  <c:v>396.44421271975943</c:v>
                </c:pt>
                <c:pt idx="36">
                  <c:v>372.37059270178247</c:v>
                </c:pt>
                <c:pt idx="37">
                  <c:v>349.54418486454711</c:v>
                </c:pt>
                <c:pt idx="38">
                  <c:v>327.6924891617391</c:v>
                </c:pt>
                <c:pt idx="39">
                  <c:v>306.94698203188108</c:v>
                </c:pt>
                <c:pt idx="40">
                  <c:v>287.42604935518818</c:v>
                </c:pt>
                <c:pt idx="41">
                  <c:v>269.39485743704455</c:v>
                </c:pt>
                <c:pt idx="42">
                  <c:v>252.50959877732822</c:v>
                </c:pt>
                <c:pt idx="43">
                  <c:v>236.94329165295713</c:v>
                </c:pt>
                <c:pt idx="44">
                  <c:v>222.46375643425557</c:v>
                </c:pt>
                <c:pt idx="45">
                  <c:v>208.86781257269865</c:v>
                </c:pt>
                <c:pt idx="46">
                  <c:v>196.25866080621813</c:v>
                </c:pt>
                <c:pt idx="47">
                  <c:v>184.5254382442179</c:v>
                </c:pt>
                <c:pt idx="48">
                  <c:v>173.58346135571338</c:v>
                </c:pt>
                <c:pt idx="49">
                  <c:v>163.37371066443706</c:v>
                </c:pt>
                <c:pt idx="50">
                  <c:v>153.98679475277191</c:v>
                </c:pt>
                <c:pt idx="51">
                  <c:v>145.23814440060707</c:v>
                </c:pt>
                <c:pt idx="52">
                  <c:v>137.07679570734817</c:v>
                </c:pt>
                <c:pt idx="53">
                  <c:v>129.4519047554183</c:v>
                </c:pt>
                <c:pt idx="54">
                  <c:v>122.31109292889917</c:v>
                </c:pt>
                <c:pt idx="55">
                  <c:v>115.60864961925925</c:v>
                </c:pt>
                <c:pt idx="56">
                  <c:v>109.30562972349179</c:v>
                </c:pt>
                <c:pt idx="57">
                  <c:v>103.36854378209944</c:v>
                </c:pt>
                <c:pt idx="58">
                  <c:v>97.844095018049359</c:v>
                </c:pt>
                <c:pt idx="59">
                  <c:v>92.824329030981204</c:v>
                </c:pt>
                <c:pt idx="60">
                  <c:v>88.352368623752227</c:v>
                </c:pt>
                <c:pt idx="61">
                  <c:v>84.434585534145427</c:v>
                </c:pt>
                <c:pt idx="62">
                  <c:v>81.056575181062158</c:v>
                </c:pt>
                <c:pt idx="63">
                  <c:v>78.188884708935007</c:v>
                </c:pt>
                <c:pt idx="64">
                  <c:v>75.796855174779353</c:v>
                </c:pt>
                <c:pt idx="65">
                  <c:v>73.844745350645638</c:v>
                </c:pt>
                <c:pt idx="66">
                  <c:v>72.292361811863259</c:v>
                </c:pt>
                <c:pt idx="67">
                  <c:v>71.096470177678256</c:v>
                </c:pt>
                <c:pt idx="68">
                  <c:v>70.214597494273164</c:v>
                </c:pt>
                <c:pt idx="69">
                  <c:v>69.631373430110557</c:v>
                </c:pt>
                <c:pt idx="70">
                  <c:v>69.325301146197788</c:v>
                </c:pt>
                <c:pt idx="71">
                  <c:v>69.267579958481164</c:v>
                </c:pt>
                <c:pt idx="72">
                  <c:v>69.425194650248031</c:v>
                </c:pt>
                <c:pt idx="73">
                  <c:v>69.761030194646537</c:v>
                </c:pt>
                <c:pt idx="74">
                  <c:v>70.235298358437277</c:v>
                </c:pt>
                <c:pt idx="75">
                  <c:v>70.807572367024576</c:v>
                </c:pt>
                <c:pt idx="76">
                  <c:v>71.44156931503791</c:v>
                </c:pt>
                <c:pt idx="77">
                  <c:v>72.10547832113086</c:v>
                </c:pt>
                <c:pt idx="78">
                  <c:v>72.772397576378523</c:v>
                </c:pt>
                <c:pt idx="79">
                  <c:v>73.421356459321714</c:v>
                </c:pt>
                <c:pt idx="80">
                  <c:v>74.034136667064772</c:v>
                </c:pt>
                <c:pt idx="81">
                  <c:v>74.595151604567391</c:v>
                </c:pt>
                <c:pt idx="82">
                  <c:v>75.091030524401106</c:v>
                </c:pt>
                <c:pt idx="83">
                  <c:v>75.510067235111137</c:v>
                </c:pt>
                <c:pt idx="84">
                  <c:v>75.842645257689625</c:v>
                </c:pt>
                <c:pt idx="85">
                  <c:v>76.081807025424339</c:v>
                </c:pt>
                <c:pt idx="86">
                  <c:v>76.223843839996448</c:v>
                </c:pt>
                <c:pt idx="87">
                  <c:v>76.266514206186926</c:v>
                </c:pt>
                <c:pt idx="88">
                  <c:v>76.20815310317758</c:v>
                </c:pt>
                <c:pt idx="89">
                  <c:v>76.047977064035663</c:v>
                </c:pt>
                <c:pt idx="90">
                  <c:v>75.786705396702288</c:v>
                </c:pt>
                <c:pt idx="91">
                  <c:v>75.426511826722603</c:v>
                </c:pt>
                <c:pt idx="92">
                  <c:v>74.971123192621803</c:v>
                </c:pt>
                <c:pt idx="93">
                  <c:v>74.42571822213776</c:v>
                </c:pt>
                <c:pt idx="94">
                  <c:v>73.795175679225423</c:v>
                </c:pt>
                <c:pt idx="95">
                  <c:v>73.083772803478098</c:v>
                </c:pt>
                <c:pt idx="96">
                  <c:v>72.295682669874523</c:v>
                </c:pt>
                <c:pt idx="97">
                  <c:v>71.435178718788876</c:v>
                </c:pt>
                <c:pt idx="98">
                  <c:v>70.506442969384608</c:v>
                </c:pt>
                <c:pt idx="99">
                  <c:v>69.514269852298739</c:v>
                </c:pt>
                <c:pt idx="100">
                  <c:v>68.56001275345352</c:v>
                </c:pt>
                <c:pt idx="101">
                  <c:v>67.712880512832754</c:v>
                </c:pt>
                <c:pt idx="102">
                  <c:v>67.011191520303043</c:v>
                </c:pt>
                <c:pt idx="103">
                  <c:v>66.475617760554258</c:v>
                </c:pt>
                <c:pt idx="104">
                  <c:v>66.114909895286374</c:v>
                </c:pt>
                <c:pt idx="105">
                  <c:v>65.930713512608904</c:v>
                </c:pt>
                <c:pt idx="106">
                  <c:v>65.92205610085783</c:v>
                </c:pt>
                <c:pt idx="107">
                  <c:v>66.08470998521409</c:v>
                </c:pt>
                <c:pt idx="108">
                  <c:v>66.410873241383754</c:v>
                </c:pt>
                <c:pt idx="109">
                  <c:v>66.889041640881771</c:v>
                </c:pt>
                <c:pt idx="110">
                  <c:v>67.50776675664774</c:v>
                </c:pt>
                <c:pt idx="111">
                  <c:v>68.254373419457295</c:v>
                </c:pt>
                <c:pt idx="112">
                  <c:v>69.115687592885749</c:v>
                </c:pt>
                <c:pt idx="113">
                  <c:v>70.078983218044897</c:v>
                </c:pt>
                <c:pt idx="114">
                  <c:v>71.129715088584391</c:v>
                </c:pt>
                <c:pt idx="115">
                  <c:v>72.252462179033913</c:v>
                </c:pt>
                <c:pt idx="116">
                  <c:v>73.430763372109695</c:v>
                </c:pt>
                <c:pt idx="117">
                  <c:v>74.64931143019642</c:v>
                </c:pt>
                <c:pt idx="118">
                  <c:v>75.895837727765169</c:v>
                </c:pt>
                <c:pt idx="119">
                  <c:v>77.159326236478719</c:v>
                </c:pt>
                <c:pt idx="120">
                  <c:v>78.430357126586145</c:v>
                </c:pt>
                <c:pt idx="121">
                  <c:v>79.70152085126719</c:v>
                </c:pt>
                <c:pt idx="122">
                  <c:v>80.966067202305524</c:v>
                </c:pt>
                <c:pt idx="123">
                  <c:v>82.217817553323584</c:v>
                </c:pt>
                <c:pt idx="124">
                  <c:v>83.451630791111413</c:v>
                </c:pt>
                <c:pt idx="125">
                  <c:v>84.663102232269594</c:v>
                </c:pt>
                <c:pt idx="126">
                  <c:v>85.848363505356957</c:v>
                </c:pt>
                <c:pt idx="127">
                  <c:v>87.004558254880266</c:v>
                </c:pt>
                <c:pt idx="128">
                  <c:v>88.12994371176606</c:v>
                </c:pt>
                <c:pt idx="129">
                  <c:v>89.222438809135994</c:v>
                </c:pt>
                <c:pt idx="130">
                  <c:v>90.280242715164405</c:v>
                </c:pt>
                <c:pt idx="131">
                  <c:v>91.382111541175931</c:v>
                </c:pt>
                <c:pt idx="132">
                  <c:v>92.584696379968776</c:v>
                </c:pt>
                <c:pt idx="133">
                  <c:v>93.93067370385512</c:v>
                </c:pt>
                <c:pt idx="134">
                  <c:v>95.45779158271354</c:v>
                </c:pt>
                <c:pt idx="135">
                  <c:v>97.203054162819484</c:v>
                </c:pt>
                <c:pt idx="136">
                  <c:v>99.204005002271757</c:v>
                </c:pt>
                <c:pt idx="137">
                  <c:v>101.49905370866749</c:v>
                </c:pt>
                <c:pt idx="138">
                  <c:v>104.12487497931527</c:v>
                </c:pt>
                <c:pt idx="139">
                  <c:v>107.11718080740846</c:v>
                </c:pt>
                <c:pt idx="140">
                  <c:v>110.50820690149644</c:v>
                </c:pt>
                <c:pt idx="141">
                  <c:v>114.32905741209089</c:v>
                </c:pt>
                <c:pt idx="142">
                  <c:v>118.60826343466078</c:v>
                </c:pt>
                <c:pt idx="143">
                  <c:v>123.3715245966855</c:v>
                </c:pt>
                <c:pt idx="144">
                  <c:v>128.64269230966681</c:v>
                </c:pt>
                <c:pt idx="145">
                  <c:v>134.44284842278711</c:v>
                </c:pt>
                <c:pt idx="146">
                  <c:v>140.79142374160554</c:v>
                </c:pt>
                <c:pt idx="147">
                  <c:v>147.70662690853328</c:v>
                </c:pt>
                <c:pt idx="148">
                  <c:v>155.20749004641004</c:v>
                </c:pt>
                <c:pt idx="149">
                  <c:v>163.31441982767387</c:v>
                </c:pt>
                <c:pt idx="150">
                  <c:v>172.04705243013206</c:v>
                </c:pt>
                <c:pt idx="151">
                  <c:v>181.42528130804959</c:v>
                </c:pt>
                <c:pt idx="152">
                  <c:v>191.47000196578691</c:v>
                </c:pt>
                <c:pt idx="153">
                  <c:v>202.20324176446178</c:v>
                </c:pt>
                <c:pt idx="154">
                  <c:v>213.64826304684181</c:v>
                </c:pt>
                <c:pt idx="155">
                  <c:v>225.8310556628133</c:v>
                </c:pt>
                <c:pt idx="156">
                  <c:v>238.78017964825028</c:v>
                </c:pt>
                <c:pt idx="157">
                  <c:v>252.52577478341101</c:v>
                </c:pt>
                <c:pt idx="158">
                  <c:v>267.10048950619262</c:v>
                </c:pt>
                <c:pt idx="159">
                  <c:v>282.53817956652978</c:v>
                </c:pt>
                <c:pt idx="160">
                  <c:v>298.87386291898576</c:v>
                </c:pt>
                <c:pt idx="161">
                  <c:v>316.7209617769193</c:v>
                </c:pt>
                <c:pt idx="162">
                  <c:v>336.55251948810161</c:v>
                </c:pt>
                <c:pt idx="163">
                  <c:v>358.72216608435474</c:v>
                </c:pt>
                <c:pt idx="164">
                  <c:v>383.52881106656162</c:v>
                </c:pt>
                <c:pt idx="165">
                  <c:v>411.24438344700093</c:v>
                </c:pt>
                <c:pt idx="166">
                  <c:v>442.13584845937669</c:v>
                </c:pt>
                <c:pt idx="167">
                  <c:v>476.48203250463712</c:v>
                </c:pt>
                <c:pt idx="168">
                  <c:v>514.56781849061883</c:v>
                </c:pt>
                <c:pt idx="169">
                  <c:v>556.69230818519748</c:v>
                </c:pt>
                <c:pt idx="170">
                  <c:v>603.16482520111128</c:v>
                </c:pt>
                <c:pt idx="171">
                  <c:v>654.3208983696868</c:v>
                </c:pt>
                <c:pt idx="172">
                  <c:v>761.99317087666952</c:v>
                </c:pt>
                <c:pt idx="173">
                  <c:v>821.97580033493875</c:v>
                </c:pt>
                <c:pt idx="174">
                  <c:v>886.32891506367014</c:v>
                </c:pt>
                <c:pt idx="175">
                  <c:v>957.029713986861</c:v>
                </c:pt>
                <c:pt idx="176">
                  <c:v>1035.5638648695319</c:v>
                </c:pt>
                <c:pt idx="177">
                  <c:v>1121.985124085563</c:v>
                </c:pt>
                <c:pt idx="178">
                  <c:v>1215.1282252083911</c:v>
                </c:pt>
                <c:pt idx="179">
                  <c:v>1315.5749741198299</c:v>
                </c:pt>
                <c:pt idx="180">
                  <c:v>1427.3431691532101</c:v>
                </c:pt>
                <c:pt idx="181">
                  <c:v>1548.7455518993343</c:v>
                </c:pt>
                <c:pt idx="182">
                  <c:v>1689.1915280514895</c:v>
                </c:pt>
                <c:pt idx="183">
                  <c:v>1842.0709119032731</c:v>
                </c:pt>
                <c:pt idx="184">
                  <c:v>2006.3267450025155</c:v>
                </c:pt>
                <c:pt idx="185">
                  <c:v>2178.9323192054849</c:v>
                </c:pt>
                <c:pt idx="186">
                  <c:v>2354.5783443465875</c:v>
                </c:pt>
                <c:pt idx="187">
                  <c:v>2532.0251568775361</c:v>
                </c:pt>
                <c:pt idx="188">
                  <c:v>2712.5363553389343</c:v>
                </c:pt>
                <c:pt idx="189">
                  <c:v>2892.5380596774803</c:v>
                </c:pt>
                <c:pt idx="190">
                  <c:v>3070.2680227991641</c:v>
                </c:pt>
                <c:pt idx="191">
                  <c:v>3245.950731171818</c:v>
                </c:pt>
                <c:pt idx="192">
                  <c:v>3418.9245065045834</c:v>
                </c:pt>
                <c:pt idx="193">
                  <c:v>3588.4036014870767</c:v>
                </c:pt>
                <c:pt idx="194">
                  <c:v>3754.6872907695611</c:v>
                </c:pt>
                <c:pt idx="195">
                  <c:v>3892.7752822914981</c:v>
                </c:pt>
                <c:pt idx="196">
                  <c:v>4043.1687347470597</c:v>
                </c:pt>
                <c:pt idx="197">
                  <c:v>4200.2470000448029</c:v>
                </c:pt>
                <c:pt idx="198">
                  <c:v>4359.4916428298739</c:v>
                </c:pt>
                <c:pt idx="199">
                  <c:v>4516.8426085193496</c:v>
                </c:pt>
                <c:pt idx="200">
                  <c:v>4674.49501363325</c:v>
                </c:pt>
                <c:pt idx="201">
                  <c:v>4836.9296358195488</c:v>
                </c:pt>
                <c:pt idx="202">
                  <c:v>5005.9629248299834</c:v>
                </c:pt>
                <c:pt idx="203">
                  <c:v>5181.0823628909475</c:v>
                </c:pt>
                <c:pt idx="204">
                  <c:v>5367.2087561997469</c:v>
                </c:pt>
                <c:pt idx="205">
                  <c:v>5557.7622339853688</c:v>
                </c:pt>
                <c:pt idx="206">
                  <c:v>5741.227412579784</c:v>
                </c:pt>
                <c:pt idx="207">
                  <c:v>5924.3916908957708</c:v>
                </c:pt>
                <c:pt idx="208">
                  <c:v>6111.6242528419043</c:v>
                </c:pt>
                <c:pt idx="209">
                  <c:v>6304.0139361848642</c:v>
                </c:pt>
                <c:pt idx="210">
                  <c:v>6501.2446122618303</c:v>
                </c:pt>
                <c:pt idx="211">
                  <c:v>6702.5228306654781</c:v>
                </c:pt>
                <c:pt idx="212">
                  <c:v>6906.5301863113755</c:v>
                </c:pt>
                <c:pt idx="213">
                  <c:v>7109.4791726113908</c:v>
                </c:pt>
                <c:pt idx="214">
                  <c:v>7311.3153925703818</c:v>
                </c:pt>
                <c:pt idx="215">
                  <c:v>7512.1806540221523</c:v>
                </c:pt>
                <c:pt idx="216">
                  <c:v>7711.789297014001</c:v>
                </c:pt>
                <c:pt idx="217">
                  <c:v>7908.8414601342893</c:v>
                </c:pt>
                <c:pt idx="218">
                  <c:v>8103.5161819879359</c:v>
                </c:pt>
                <c:pt idx="219">
                  <c:v>8294.4674585003886</c:v>
                </c:pt>
                <c:pt idx="220">
                  <c:v>8481.1526524327164</c:v>
                </c:pt>
                <c:pt idx="221">
                  <c:v>8661.5385703678348</c:v>
                </c:pt>
                <c:pt idx="222">
                  <c:v>8835.5454934832705</c:v>
                </c:pt>
                <c:pt idx="223">
                  <c:v>9002.9890621874674</c:v>
                </c:pt>
                <c:pt idx="224">
                  <c:v>9161.1516483523119</c:v>
                </c:pt>
                <c:pt idx="225">
                  <c:v>9310.7132913458499</c:v>
                </c:pt>
                <c:pt idx="226">
                  <c:v>9451.1919071894808</c:v>
                </c:pt>
                <c:pt idx="227">
                  <c:v>9581.0814534073234</c:v>
                </c:pt>
                <c:pt idx="228">
                  <c:v>9700.0694388859665</c:v>
                </c:pt>
                <c:pt idx="229">
                  <c:v>9807.7261848728922</c:v>
                </c:pt>
                <c:pt idx="230">
                  <c:v>9903.950113379924</c:v>
                </c:pt>
                <c:pt idx="231">
                  <c:v>9986.8513187595854</c:v>
                </c:pt>
                <c:pt idx="232">
                  <c:v>10057.23677196085</c:v>
                </c:pt>
                <c:pt idx="233">
                  <c:v>10114.722469341128</c:v>
                </c:pt>
                <c:pt idx="234">
                  <c:v>10158.247083233071</c:v>
                </c:pt>
                <c:pt idx="235">
                  <c:v>10187.686256884104</c:v>
                </c:pt>
                <c:pt idx="236">
                  <c:v>10204.017835551909</c:v>
                </c:pt>
                <c:pt idx="237">
                  <c:v>10206.638131698184</c:v>
                </c:pt>
                <c:pt idx="238">
                  <c:v>10194.579248587939</c:v>
                </c:pt>
                <c:pt idx="239">
                  <c:v>10169.884223290055</c:v>
                </c:pt>
                <c:pt idx="240">
                  <c:v>10132.096963673483</c:v>
                </c:pt>
                <c:pt idx="241">
                  <c:v>10079.137980044037</c:v>
                </c:pt>
                <c:pt idx="242">
                  <c:v>10013.939924979448</c:v>
                </c:pt>
                <c:pt idx="243">
                  <c:v>9936.6889466502071</c:v>
                </c:pt>
                <c:pt idx="244">
                  <c:v>9847.0688784891008</c:v>
                </c:pt>
                <c:pt idx="245">
                  <c:v>9744.119440610757</c:v>
                </c:pt>
                <c:pt idx="246">
                  <c:v>9629.7096549604648</c:v>
                </c:pt>
                <c:pt idx="247">
                  <c:v>9504.7837788229663</c:v>
                </c:pt>
                <c:pt idx="248">
                  <c:v>9369.400369487331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190-442D-BD58-5B49B037E7B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V2</c:v>
                </c:pt>
              </c:strCache>
            </c:strRef>
          </c:tx>
          <c:spPr>
            <a:ln w="28575" cap="rnd">
              <a:solidFill>
                <a:srgbClr val="FF99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A$2:$A$250</c:f>
              <c:numCache>
                <c:formatCode>m/d/yyyy</c:formatCode>
                <c:ptCount val="24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  <c:pt idx="219">
                  <c:v>44536</c:v>
                </c:pt>
                <c:pt idx="220">
                  <c:v>44537</c:v>
                </c:pt>
                <c:pt idx="221">
                  <c:v>44538</c:v>
                </c:pt>
                <c:pt idx="222">
                  <c:v>44539</c:v>
                </c:pt>
                <c:pt idx="223">
                  <c:v>44540</c:v>
                </c:pt>
                <c:pt idx="224">
                  <c:v>44541</c:v>
                </c:pt>
                <c:pt idx="225">
                  <c:v>44542</c:v>
                </c:pt>
                <c:pt idx="226">
                  <c:v>44543</c:v>
                </c:pt>
                <c:pt idx="227">
                  <c:v>44544</c:v>
                </c:pt>
                <c:pt idx="228">
                  <c:v>44545</c:v>
                </c:pt>
                <c:pt idx="229">
                  <c:v>44546</c:v>
                </c:pt>
                <c:pt idx="230">
                  <c:v>44547</c:v>
                </c:pt>
                <c:pt idx="231">
                  <c:v>44548</c:v>
                </c:pt>
                <c:pt idx="232">
                  <c:v>44549</c:v>
                </c:pt>
                <c:pt idx="233">
                  <c:v>44550</c:v>
                </c:pt>
                <c:pt idx="234">
                  <c:v>44551</c:v>
                </c:pt>
                <c:pt idx="235">
                  <c:v>44552</c:v>
                </c:pt>
                <c:pt idx="236">
                  <c:v>44553</c:v>
                </c:pt>
                <c:pt idx="237">
                  <c:v>44554</c:v>
                </c:pt>
                <c:pt idx="238">
                  <c:v>44555</c:v>
                </c:pt>
                <c:pt idx="239">
                  <c:v>44556</c:v>
                </c:pt>
                <c:pt idx="240">
                  <c:v>44557</c:v>
                </c:pt>
                <c:pt idx="241">
                  <c:v>44558</c:v>
                </c:pt>
                <c:pt idx="242">
                  <c:v>44559</c:v>
                </c:pt>
                <c:pt idx="243">
                  <c:v>44560</c:v>
                </c:pt>
                <c:pt idx="244">
                  <c:v>44561</c:v>
                </c:pt>
                <c:pt idx="245">
                  <c:v>44562</c:v>
                </c:pt>
                <c:pt idx="246">
                  <c:v>44563</c:v>
                </c:pt>
                <c:pt idx="247">
                  <c:v>44564</c:v>
                </c:pt>
                <c:pt idx="248">
                  <c:v>44565</c:v>
                </c:pt>
              </c:numCache>
            </c:numRef>
          </c:cat>
          <c:val>
            <c:numRef>
              <c:f>Sheet1!$C$2:$C$250</c:f>
              <c:numCache>
                <c:formatCode>General</c:formatCode>
                <c:ptCount val="249"/>
                <c:pt idx="195">
                  <c:v>3874.8266915745994</c:v>
                </c:pt>
                <c:pt idx="196">
                  <c:v>4000.7649631137347</c:v>
                </c:pt>
                <c:pt idx="197">
                  <c:v>4126.3636197642336</c:v>
                </c:pt>
                <c:pt idx="198">
                  <c:v>4246.8519586359671</c:v>
                </c:pt>
                <c:pt idx="199">
                  <c:v>4357.7449058198672</c:v>
                </c:pt>
                <c:pt idx="200">
                  <c:v>4461.1798325185819</c:v>
                </c:pt>
                <c:pt idx="201">
                  <c:v>4561.4503701634731</c:v>
                </c:pt>
                <c:pt idx="202">
                  <c:v>4660.4655418011025</c:v>
                </c:pt>
                <c:pt idx="203">
                  <c:v>4757.6593438429773</c:v>
                </c:pt>
                <c:pt idx="204">
                  <c:v>4858.1037055510278</c:v>
                </c:pt>
                <c:pt idx="205">
                  <c:v>4955.2698137298621</c:v>
                </c:pt>
                <c:pt idx="206">
                  <c:v>5037.851718867676</c:v>
                </c:pt>
                <c:pt idx="207">
                  <c:v>5112.8062867582794</c:v>
                </c:pt>
                <c:pt idx="208">
                  <c:v>5184.8357063969961</c:v>
                </c:pt>
                <c:pt idx="209">
                  <c:v>5255.5396750814843</c:v>
                </c:pt>
                <c:pt idx="210">
                  <c:v>5325.598673688386</c:v>
                </c:pt>
                <c:pt idx="211">
                  <c:v>5394.5302687169533</c:v>
                </c:pt>
                <c:pt idx="212">
                  <c:v>5461.5112579097104</c:v>
                </c:pt>
                <c:pt idx="213">
                  <c:v>5523.106765469247</c:v>
                </c:pt>
                <c:pt idx="214">
                  <c:v>5579.9682808836278</c:v>
                </c:pt>
                <c:pt idx="215">
                  <c:v>5632.7848342359175</c:v>
                </c:pt>
                <c:pt idx="216">
                  <c:v>5681.9344968879614</c:v>
                </c:pt>
                <c:pt idx="217">
                  <c:v>5726.9117901050686</c:v>
                </c:pt>
                <c:pt idx="218">
                  <c:v>5768.6191703553777</c:v>
                </c:pt>
                <c:pt idx="219">
                  <c:v>5806.3310357463051</c:v>
                </c:pt>
                <c:pt idx="220">
                  <c:v>5840.2229265257083</c:v>
                </c:pt>
                <c:pt idx="221">
                  <c:v>5868.9282885581733</c:v>
                </c:pt>
                <c:pt idx="222">
                  <c:v>5893.066540476213</c:v>
                </c:pt>
                <c:pt idx="223">
                  <c:v>5913.1832379434609</c:v>
                </c:pt>
                <c:pt idx="224">
                  <c:v>5927.2707698645754</c:v>
                </c:pt>
                <c:pt idx="225">
                  <c:v>5936.7406334869083</c:v>
                </c:pt>
                <c:pt idx="226">
                  <c:v>5941.7682210099574</c:v>
                </c:pt>
                <c:pt idx="227">
                  <c:v>5941.4840299436837</c:v>
                </c:pt>
                <c:pt idx="228">
                  <c:v>5936.1953895340221</c:v>
                </c:pt>
                <c:pt idx="229">
                  <c:v>5926.0593653684864</c:v>
                </c:pt>
                <c:pt idx="230">
                  <c:v>5911.4925302807624</c:v>
                </c:pt>
                <c:pt idx="231">
                  <c:v>5891.1145246271153</c:v>
                </c:pt>
                <c:pt idx="232">
                  <c:v>5866.1678405466046</c:v>
                </c:pt>
                <c:pt idx="233">
                  <c:v>5836.6640093508631</c:v>
                </c:pt>
                <c:pt idx="234">
                  <c:v>5801.8842766630696</c:v>
                </c:pt>
                <c:pt idx="235">
                  <c:v>5762.0073052004482</c:v>
                </c:pt>
                <c:pt idx="236">
                  <c:v>5718.2310743467178</c:v>
                </c:pt>
                <c:pt idx="237">
                  <c:v>5670.1237920150879</c:v>
                </c:pt>
                <c:pt idx="238">
                  <c:v>5616.8306867096635</c:v>
                </c:pt>
                <c:pt idx="239">
                  <c:v>5560.449341745787</c:v>
                </c:pt>
                <c:pt idx="240">
                  <c:v>5500.5212514270279</c:v>
                </c:pt>
                <c:pt idx="241">
                  <c:v>5434.9249047022322</c:v>
                </c:pt>
                <c:pt idx="242">
                  <c:v>5366.4713539503809</c:v>
                </c:pt>
                <c:pt idx="243">
                  <c:v>5295.1997817793708</c:v>
                </c:pt>
                <c:pt idx="244">
                  <c:v>5220.5883678919135</c:v>
                </c:pt>
                <c:pt idx="245">
                  <c:v>5141.6385683384124</c:v>
                </c:pt>
                <c:pt idx="246">
                  <c:v>5059.7844572957156</c:v>
                </c:pt>
                <c:pt idx="247">
                  <c:v>4975.6441177210791</c:v>
                </c:pt>
                <c:pt idx="248">
                  <c:v>4888.915269688811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216-4360-A02D-44DD6057B4BC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V3</c:v>
                </c:pt>
              </c:strCache>
            </c:strRef>
          </c:tx>
          <c:spPr>
            <a:ln w="28575" cap="rnd">
              <a:solidFill>
                <a:srgbClr val="4472C4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250</c:f>
              <c:numCache>
                <c:formatCode>m/d/yyyy</c:formatCode>
                <c:ptCount val="24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  <c:pt idx="219">
                  <c:v>44536</c:v>
                </c:pt>
                <c:pt idx="220">
                  <c:v>44537</c:v>
                </c:pt>
                <c:pt idx="221">
                  <c:v>44538</c:v>
                </c:pt>
                <c:pt idx="222">
                  <c:v>44539</c:v>
                </c:pt>
                <c:pt idx="223">
                  <c:v>44540</c:v>
                </c:pt>
                <c:pt idx="224">
                  <c:v>44541</c:v>
                </c:pt>
                <c:pt idx="225">
                  <c:v>44542</c:v>
                </c:pt>
                <c:pt idx="226">
                  <c:v>44543</c:v>
                </c:pt>
                <c:pt idx="227">
                  <c:v>44544</c:v>
                </c:pt>
                <c:pt idx="228">
                  <c:v>44545</c:v>
                </c:pt>
                <c:pt idx="229">
                  <c:v>44546</c:v>
                </c:pt>
                <c:pt idx="230">
                  <c:v>44547</c:v>
                </c:pt>
                <c:pt idx="231">
                  <c:v>44548</c:v>
                </c:pt>
                <c:pt idx="232">
                  <c:v>44549</c:v>
                </c:pt>
                <c:pt idx="233">
                  <c:v>44550</c:v>
                </c:pt>
                <c:pt idx="234">
                  <c:v>44551</c:v>
                </c:pt>
                <c:pt idx="235">
                  <c:v>44552</c:v>
                </c:pt>
                <c:pt idx="236">
                  <c:v>44553</c:v>
                </c:pt>
                <c:pt idx="237">
                  <c:v>44554</c:v>
                </c:pt>
                <c:pt idx="238">
                  <c:v>44555</c:v>
                </c:pt>
                <c:pt idx="239">
                  <c:v>44556</c:v>
                </c:pt>
                <c:pt idx="240">
                  <c:v>44557</c:v>
                </c:pt>
                <c:pt idx="241">
                  <c:v>44558</c:v>
                </c:pt>
                <c:pt idx="242">
                  <c:v>44559</c:v>
                </c:pt>
                <c:pt idx="243">
                  <c:v>44560</c:v>
                </c:pt>
                <c:pt idx="244">
                  <c:v>44561</c:v>
                </c:pt>
                <c:pt idx="245">
                  <c:v>44562</c:v>
                </c:pt>
                <c:pt idx="246">
                  <c:v>44563</c:v>
                </c:pt>
                <c:pt idx="247">
                  <c:v>44564</c:v>
                </c:pt>
                <c:pt idx="248">
                  <c:v>44565</c:v>
                </c:pt>
              </c:numCache>
            </c:numRef>
          </c:cat>
          <c:val>
            <c:numRef>
              <c:f>Sheet1!$D$2:$D$250</c:f>
              <c:numCache>
                <c:formatCode>General</c:formatCode>
                <c:ptCount val="249"/>
                <c:pt idx="195">
                  <c:v>3883.7724957326491</c:v>
                </c:pt>
                <c:pt idx="196">
                  <c:v>4021.8651703173618</c:v>
                </c:pt>
                <c:pt idx="197">
                  <c:v>4163.0571947267417</c:v>
                </c:pt>
                <c:pt idx="198">
                  <c:v>4302.6712117083389</c:v>
                </c:pt>
                <c:pt idx="199">
                  <c:v>4436.3983667800385</c:v>
                </c:pt>
                <c:pt idx="200">
                  <c:v>4566.3664649222883</c:v>
                </c:pt>
                <c:pt idx="201">
                  <c:v>4696.9225458938081</c:v>
                </c:pt>
                <c:pt idx="202">
                  <c:v>4829.8886898653491</c:v>
                </c:pt>
                <c:pt idx="203">
                  <c:v>4964.6851723175714</c:v>
                </c:pt>
                <c:pt idx="204">
                  <c:v>5106.2691649077651</c:v>
                </c:pt>
                <c:pt idx="205">
                  <c:v>5248.0490617810719</c:v>
                </c:pt>
                <c:pt idx="206">
                  <c:v>5378.5801272190911</c:v>
                </c:pt>
                <c:pt idx="207">
                  <c:v>5504.7041800399766</c:v>
                </c:pt>
                <c:pt idx="208">
                  <c:v>5630.9313152074346</c:v>
                </c:pt>
                <c:pt idx="209">
                  <c:v>5758.5854770970145</c:v>
                </c:pt>
                <c:pt idx="210">
                  <c:v>5887.8355049395113</c:v>
                </c:pt>
                <c:pt idx="211">
                  <c:v>6018.036375473841</c:v>
                </c:pt>
                <c:pt idx="212">
                  <c:v>6148.1174291578545</c:v>
                </c:pt>
                <c:pt idx="213">
                  <c:v>6274.4753812746858</c:v>
                </c:pt>
                <c:pt idx="214">
                  <c:v>6397.4250467610227</c:v>
                </c:pt>
                <c:pt idx="215">
                  <c:v>6517.4063018172365</c:v>
                </c:pt>
                <c:pt idx="216">
                  <c:v>6634.4979616464334</c:v>
                </c:pt>
                <c:pt idx="217">
                  <c:v>6747.8381258254449</c:v>
                </c:pt>
                <c:pt idx="218">
                  <c:v>6858.0152150647627</c:v>
                </c:pt>
                <c:pt idx="219">
                  <c:v>6964.0475227458237</c:v>
                </c:pt>
                <c:pt idx="220">
                  <c:v>7065.8127870876533</c:v>
                </c:pt>
                <c:pt idx="221">
                  <c:v>7161.6785672445494</c:v>
                </c:pt>
                <c:pt idx="222">
                  <c:v>7251.9875202190015</c:v>
                </c:pt>
                <c:pt idx="223">
                  <c:v>7336.997413029294</c:v>
                </c:pt>
                <c:pt idx="224">
                  <c:v>7414.4261695508612</c:v>
                </c:pt>
                <c:pt idx="225">
                  <c:v>7485.4020724328948</c:v>
                </c:pt>
                <c:pt idx="226">
                  <c:v>7549.8552017784714</c:v>
                </c:pt>
                <c:pt idx="227">
                  <c:v>7606.6812658407434</c:v>
                </c:pt>
                <c:pt idx="228">
                  <c:v>7655.9601133157566</c:v>
                </c:pt>
                <c:pt idx="229">
                  <c:v>7697.6356567036783</c:v>
                </c:pt>
                <c:pt idx="230">
                  <c:v>7731.9422521323904</c:v>
                </c:pt>
                <c:pt idx="231">
                  <c:v>7757.3172289474414</c:v>
                </c:pt>
                <c:pt idx="232">
                  <c:v>7774.8523594207973</c:v>
                </c:pt>
                <c:pt idx="233">
                  <c:v>7784.4222024789415</c:v>
                </c:pt>
                <c:pt idx="234">
                  <c:v>7785.1904771195777</c:v>
                </c:pt>
                <c:pt idx="235">
                  <c:v>7777.2303691396628</c:v>
                </c:pt>
                <c:pt idx="236">
                  <c:v>7761.6674912508715</c:v>
                </c:pt>
                <c:pt idx="237">
                  <c:v>7738.0130518590768</c:v>
                </c:pt>
                <c:pt idx="238">
                  <c:v>7705.3756244397237</c:v>
                </c:pt>
                <c:pt idx="239">
                  <c:v>7665.8362387460747</c:v>
                </c:pt>
                <c:pt idx="240">
                  <c:v>7618.939138221861</c:v>
                </c:pt>
                <c:pt idx="241">
                  <c:v>7562.5763308956839</c:v>
                </c:pt>
                <c:pt idx="242">
                  <c:v>7499.603342788907</c:v>
                </c:pt>
                <c:pt idx="243">
                  <c:v>7430.1080738058808</c:v>
                </c:pt>
                <c:pt idx="244">
                  <c:v>7353.6387736028446</c:v>
                </c:pt>
                <c:pt idx="245">
                  <c:v>7269.1761846328609</c:v>
                </c:pt>
                <c:pt idx="246">
                  <c:v>7178.3251169050309</c:v>
                </c:pt>
                <c:pt idx="247">
                  <c:v>7081.8141108436248</c:v>
                </c:pt>
                <c:pt idx="248">
                  <c:v>6979.46347204152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216-4360-A02D-44DD6057B4BC}"/>
            </c:ext>
          </c:extLst>
        </c:ser>
        <c:ser>
          <c:idx val="4"/>
          <c:order val="3"/>
          <c:tx>
            <c:strRef>
              <c:f>Sheet1!$F$1</c:f>
              <c:strCache>
                <c:ptCount val="1"/>
                <c:pt idx="0">
                  <c:v>C</c:v>
                </c:pt>
              </c:strCache>
            </c:strRef>
          </c:tx>
          <c:spPr>
            <a:ln w="28575" cap="rnd">
              <a:solidFill>
                <a:srgbClr val="FF9900"/>
              </a:solidFill>
              <a:round/>
            </a:ln>
            <a:effectLst/>
          </c:spPr>
          <c:marker>
            <c:symbol val="none"/>
          </c:marker>
          <c:cat>
            <c:numRef>
              <c:f>Sheet1!$A$2:$A$250</c:f>
              <c:numCache>
                <c:formatCode>m/d/yyyy</c:formatCode>
                <c:ptCount val="24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  <c:pt idx="219">
                  <c:v>44536</c:v>
                </c:pt>
                <c:pt idx="220">
                  <c:v>44537</c:v>
                </c:pt>
                <c:pt idx="221">
                  <c:v>44538</c:v>
                </c:pt>
                <c:pt idx="222">
                  <c:v>44539</c:v>
                </c:pt>
                <c:pt idx="223">
                  <c:v>44540</c:v>
                </c:pt>
                <c:pt idx="224">
                  <c:v>44541</c:v>
                </c:pt>
                <c:pt idx="225">
                  <c:v>44542</c:v>
                </c:pt>
                <c:pt idx="226">
                  <c:v>44543</c:v>
                </c:pt>
                <c:pt idx="227">
                  <c:v>44544</c:v>
                </c:pt>
                <c:pt idx="228">
                  <c:v>44545</c:v>
                </c:pt>
                <c:pt idx="229">
                  <c:v>44546</c:v>
                </c:pt>
                <c:pt idx="230">
                  <c:v>44547</c:v>
                </c:pt>
                <c:pt idx="231">
                  <c:v>44548</c:v>
                </c:pt>
                <c:pt idx="232">
                  <c:v>44549</c:v>
                </c:pt>
                <c:pt idx="233">
                  <c:v>44550</c:v>
                </c:pt>
                <c:pt idx="234">
                  <c:v>44551</c:v>
                </c:pt>
                <c:pt idx="235">
                  <c:v>44552</c:v>
                </c:pt>
                <c:pt idx="236">
                  <c:v>44553</c:v>
                </c:pt>
                <c:pt idx="237">
                  <c:v>44554</c:v>
                </c:pt>
                <c:pt idx="238">
                  <c:v>44555</c:v>
                </c:pt>
                <c:pt idx="239">
                  <c:v>44556</c:v>
                </c:pt>
                <c:pt idx="240">
                  <c:v>44557</c:v>
                </c:pt>
                <c:pt idx="241">
                  <c:v>44558</c:v>
                </c:pt>
                <c:pt idx="242">
                  <c:v>44559</c:v>
                </c:pt>
                <c:pt idx="243">
                  <c:v>44560</c:v>
                </c:pt>
                <c:pt idx="244">
                  <c:v>44561</c:v>
                </c:pt>
                <c:pt idx="245">
                  <c:v>44562</c:v>
                </c:pt>
                <c:pt idx="246">
                  <c:v>44563</c:v>
                </c:pt>
                <c:pt idx="247">
                  <c:v>44564</c:v>
                </c:pt>
                <c:pt idx="248">
                  <c:v>44565</c:v>
                </c:pt>
              </c:numCache>
            </c:numRef>
          </c:cat>
          <c:val>
            <c:numRef>
              <c:f>Sheet1!$F$2:$F$250</c:f>
              <c:numCache>
                <c:formatCode>General</c:formatCode>
                <c:ptCount val="249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EDB9-4256-AE28-72A2561918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093791"/>
        <c:axId val="209778303"/>
      </c:lineChart>
      <c:catAx>
        <c:axId val="20709379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9778303"/>
        <c:crosses val="autoZero"/>
        <c:auto val="1"/>
        <c:lblAlgn val="ctr"/>
        <c:lblOffset val="100"/>
        <c:tickLblSkip val="7"/>
        <c:noMultiLvlLbl val="1"/>
      </c:catAx>
      <c:valAx>
        <c:axId val="20977830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70937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1"/>
        <c:delete val="1"/>
      </c:legendEntry>
      <c:legendEntry>
        <c:idx val="2"/>
        <c:delete val="1"/>
      </c:legendEntry>
      <c:legendEntry>
        <c:idx val="3"/>
        <c:delete val="1"/>
      </c:legendEntry>
      <c:legendEntry>
        <c:idx val="4"/>
        <c:delete val="1"/>
      </c:legendEntry>
      <c:layout>
        <c:manualLayout>
          <c:xMode val="edge"/>
          <c:yMode val="edge"/>
          <c:x val="0.20000242690338468"/>
          <c:y val="4.6874997116449491E-2"/>
          <c:w val="0.14188217964413682"/>
          <c:h val="4.7962349411764922E-2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5"/>
          <c:order val="4"/>
          <c:tx>
            <c:strRef>
              <c:f>Sheet1!$G$1</c:f>
              <c:strCache>
                <c:ptCount val="1"/>
                <c:pt idx="0">
                  <c:v>Reálná data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250</c:f>
              <c:numCache>
                <c:formatCode>m/d/yyyy</c:formatCode>
                <c:ptCount val="24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  <c:pt idx="219">
                  <c:v>44536</c:v>
                </c:pt>
                <c:pt idx="220">
                  <c:v>44537</c:v>
                </c:pt>
                <c:pt idx="221">
                  <c:v>44538</c:v>
                </c:pt>
                <c:pt idx="222">
                  <c:v>44539</c:v>
                </c:pt>
                <c:pt idx="223">
                  <c:v>44540</c:v>
                </c:pt>
                <c:pt idx="224">
                  <c:v>44541</c:v>
                </c:pt>
                <c:pt idx="225">
                  <c:v>44542</c:v>
                </c:pt>
                <c:pt idx="226">
                  <c:v>44543</c:v>
                </c:pt>
                <c:pt idx="227">
                  <c:v>44544</c:v>
                </c:pt>
                <c:pt idx="228">
                  <c:v>44545</c:v>
                </c:pt>
                <c:pt idx="229">
                  <c:v>44546</c:v>
                </c:pt>
                <c:pt idx="230">
                  <c:v>44547</c:v>
                </c:pt>
                <c:pt idx="231">
                  <c:v>44548</c:v>
                </c:pt>
                <c:pt idx="232">
                  <c:v>44549</c:v>
                </c:pt>
                <c:pt idx="233">
                  <c:v>44550</c:v>
                </c:pt>
                <c:pt idx="234">
                  <c:v>44551</c:v>
                </c:pt>
                <c:pt idx="235">
                  <c:v>44552</c:v>
                </c:pt>
                <c:pt idx="236">
                  <c:v>44553</c:v>
                </c:pt>
                <c:pt idx="237">
                  <c:v>44554</c:v>
                </c:pt>
                <c:pt idx="238">
                  <c:v>44555</c:v>
                </c:pt>
                <c:pt idx="239">
                  <c:v>44556</c:v>
                </c:pt>
                <c:pt idx="240">
                  <c:v>44557</c:v>
                </c:pt>
                <c:pt idx="241">
                  <c:v>44558</c:v>
                </c:pt>
                <c:pt idx="242">
                  <c:v>44559</c:v>
                </c:pt>
                <c:pt idx="243">
                  <c:v>44560</c:v>
                </c:pt>
                <c:pt idx="244">
                  <c:v>44561</c:v>
                </c:pt>
                <c:pt idx="245">
                  <c:v>44562</c:v>
                </c:pt>
                <c:pt idx="246">
                  <c:v>44563</c:v>
                </c:pt>
                <c:pt idx="247">
                  <c:v>44564</c:v>
                </c:pt>
                <c:pt idx="248">
                  <c:v>44565</c:v>
                </c:pt>
              </c:numCache>
            </c:numRef>
          </c:cat>
          <c:val>
            <c:numRef>
              <c:f>Sheet1!$G$2:$G$250</c:f>
              <c:numCache>
                <c:formatCode>General</c:formatCode>
                <c:ptCount val="249"/>
                <c:pt idx="0">
                  <c:v>556</c:v>
                </c:pt>
                <c:pt idx="1">
                  <c:v>559</c:v>
                </c:pt>
                <c:pt idx="2">
                  <c:v>564</c:v>
                </c:pt>
                <c:pt idx="3">
                  <c:v>545</c:v>
                </c:pt>
                <c:pt idx="4">
                  <c:v>503</c:v>
                </c:pt>
                <c:pt idx="5">
                  <c:v>464</c:v>
                </c:pt>
                <c:pt idx="6">
                  <c:v>439</c:v>
                </c:pt>
                <c:pt idx="7">
                  <c:v>412</c:v>
                </c:pt>
                <c:pt idx="8">
                  <c:v>416</c:v>
                </c:pt>
                <c:pt idx="9">
                  <c:v>424</c:v>
                </c:pt>
                <c:pt idx="10">
                  <c:v>401</c:v>
                </c:pt>
                <c:pt idx="11">
                  <c:v>379</c:v>
                </c:pt>
                <c:pt idx="12">
                  <c:v>369</c:v>
                </c:pt>
                <c:pt idx="13">
                  <c:v>343</c:v>
                </c:pt>
                <c:pt idx="14">
                  <c:v>309</c:v>
                </c:pt>
                <c:pt idx="15">
                  <c:v>306</c:v>
                </c:pt>
                <c:pt idx="16">
                  <c:v>297</c:v>
                </c:pt>
                <c:pt idx="17">
                  <c:v>279</c:v>
                </c:pt>
                <c:pt idx="18">
                  <c:v>251</c:v>
                </c:pt>
                <c:pt idx="19">
                  <c:v>220</c:v>
                </c:pt>
                <c:pt idx="20">
                  <c:v>194</c:v>
                </c:pt>
                <c:pt idx="21">
                  <c:v>191</c:v>
                </c:pt>
                <c:pt idx="22">
                  <c:v>189</c:v>
                </c:pt>
                <c:pt idx="23">
                  <c:v>185</c:v>
                </c:pt>
                <c:pt idx="24">
                  <c:v>164</c:v>
                </c:pt>
                <c:pt idx="25">
                  <c:v>156</c:v>
                </c:pt>
                <c:pt idx="26">
                  <c:v>147</c:v>
                </c:pt>
                <c:pt idx="27">
                  <c:v>127</c:v>
                </c:pt>
                <c:pt idx="28">
                  <c:v>113</c:v>
                </c:pt>
                <c:pt idx="29">
                  <c:v>113</c:v>
                </c:pt>
                <c:pt idx="30">
                  <c:v>118</c:v>
                </c:pt>
                <c:pt idx="31">
                  <c:v>98</c:v>
                </c:pt>
                <c:pt idx="32">
                  <c:v>91</c:v>
                </c:pt>
                <c:pt idx="33">
                  <c:v>86</c:v>
                </c:pt>
                <c:pt idx="34">
                  <c:v>72</c:v>
                </c:pt>
                <c:pt idx="35">
                  <c:v>60</c:v>
                </c:pt>
                <c:pt idx="36">
                  <c:v>61</c:v>
                </c:pt>
                <c:pt idx="37">
                  <c:v>58</c:v>
                </c:pt>
                <c:pt idx="38">
                  <c:v>59</c:v>
                </c:pt>
                <c:pt idx="39">
                  <c:v>56</c:v>
                </c:pt>
                <c:pt idx="40">
                  <c:v>53</c:v>
                </c:pt>
                <c:pt idx="41">
                  <c:v>38</c:v>
                </c:pt>
                <c:pt idx="42">
                  <c:v>38</c:v>
                </c:pt>
                <c:pt idx="43">
                  <c:v>35</c:v>
                </c:pt>
                <c:pt idx="44">
                  <c:v>37</c:v>
                </c:pt>
                <c:pt idx="45">
                  <c:v>27</c:v>
                </c:pt>
                <c:pt idx="46">
                  <c:v>25</c:v>
                </c:pt>
                <c:pt idx="47">
                  <c:v>24</c:v>
                </c:pt>
                <c:pt idx="48">
                  <c:v>22</c:v>
                </c:pt>
                <c:pt idx="49">
                  <c:v>18</c:v>
                </c:pt>
                <c:pt idx="50">
                  <c:v>20</c:v>
                </c:pt>
                <c:pt idx="51">
                  <c:v>18</c:v>
                </c:pt>
                <c:pt idx="52">
                  <c:v>17</c:v>
                </c:pt>
                <c:pt idx="53">
                  <c:v>14</c:v>
                </c:pt>
                <c:pt idx="54">
                  <c:v>16</c:v>
                </c:pt>
                <c:pt idx="55">
                  <c:v>16</c:v>
                </c:pt>
                <c:pt idx="56">
                  <c:v>13</c:v>
                </c:pt>
                <c:pt idx="57">
                  <c:v>12</c:v>
                </c:pt>
                <c:pt idx="58">
                  <c:v>14</c:v>
                </c:pt>
                <c:pt idx="59">
                  <c:v>15</c:v>
                </c:pt>
                <c:pt idx="60">
                  <c:v>13</c:v>
                </c:pt>
                <c:pt idx="61">
                  <c:v>14</c:v>
                </c:pt>
                <c:pt idx="62">
                  <c:v>7</c:v>
                </c:pt>
                <c:pt idx="63">
                  <c:v>6</c:v>
                </c:pt>
                <c:pt idx="64">
                  <c:v>7</c:v>
                </c:pt>
                <c:pt idx="65">
                  <c:v>11</c:v>
                </c:pt>
                <c:pt idx="66">
                  <c:v>11</c:v>
                </c:pt>
                <c:pt idx="67">
                  <c:v>12</c:v>
                </c:pt>
                <c:pt idx="68">
                  <c:v>11</c:v>
                </c:pt>
                <c:pt idx="69">
                  <c:v>8</c:v>
                </c:pt>
                <c:pt idx="70">
                  <c:v>7</c:v>
                </c:pt>
                <c:pt idx="71">
                  <c:v>8</c:v>
                </c:pt>
                <c:pt idx="72">
                  <c:v>9</c:v>
                </c:pt>
                <c:pt idx="73">
                  <c:v>8</c:v>
                </c:pt>
                <c:pt idx="74">
                  <c:v>10</c:v>
                </c:pt>
                <c:pt idx="75">
                  <c:v>10</c:v>
                </c:pt>
                <c:pt idx="76">
                  <c:v>10</c:v>
                </c:pt>
                <c:pt idx="77">
                  <c:v>9</c:v>
                </c:pt>
                <c:pt idx="78">
                  <c:v>10</c:v>
                </c:pt>
                <c:pt idx="79">
                  <c:v>10</c:v>
                </c:pt>
                <c:pt idx="80">
                  <c:v>6</c:v>
                </c:pt>
                <c:pt idx="81">
                  <c:v>9</c:v>
                </c:pt>
                <c:pt idx="82">
                  <c:v>14</c:v>
                </c:pt>
                <c:pt idx="83">
                  <c:v>12</c:v>
                </c:pt>
                <c:pt idx="84">
                  <c:v>9</c:v>
                </c:pt>
                <c:pt idx="85">
                  <c:v>10</c:v>
                </c:pt>
                <c:pt idx="86">
                  <c:v>9</c:v>
                </c:pt>
                <c:pt idx="87">
                  <c:v>10</c:v>
                </c:pt>
                <c:pt idx="88">
                  <c:v>11</c:v>
                </c:pt>
                <c:pt idx="89">
                  <c:v>14</c:v>
                </c:pt>
                <c:pt idx="90">
                  <c:v>16</c:v>
                </c:pt>
                <c:pt idx="91">
                  <c:v>17</c:v>
                </c:pt>
                <c:pt idx="92">
                  <c:v>16</c:v>
                </c:pt>
                <c:pt idx="93">
                  <c:v>15</c:v>
                </c:pt>
                <c:pt idx="94">
                  <c:v>17</c:v>
                </c:pt>
                <c:pt idx="95">
                  <c:v>18</c:v>
                </c:pt>
                <c:pt idx="96">
                  <c:v>17</c:v>
                </c:pt>
                <c:pt idx="97">
                  <c:v>15</c:v>
                </c:pt>
                <c:pt idx="98">
                  <c:v>13</c:v>
                </c:pt>
                <c:pt idx="99">
                  <c:v>16</c:v>
                </c:pt>
                <c:pt idx="100">
                  <c:v>18</c:v>
                </c:pt>
                <c:pt idx="101">
                  <c:v>18</c:v>
                </c:pt>
                <c:pt idx="102">
                  <c:v>20</c:v>
                </c:pt>
                <c:pt idx="103">
                  <c:v>20</c:v>
                </c:pt>
                <c:pt idx="104">
                  <c:v>18</c:v>
                </c:pt>
                <c:pt idx="105">
                  <c:v>19</c:v>
                </c:pt>
                <c:pt idx="106">
                  <c:v>16</c:v>
                </c:pt>
                <c:pt idx="107">
                  <c:v>18</c:v>
                </c:pt>
                <c:pt idx="108">
                  <c:v>18</c:v>
                </c:pt>
                <c:pt idx="109">
                  <c:v>19</c:v>
                </c:pt>
                <c:pt idx="110">
                  <c:v>20</c:v>
                </c:pt>
                <c:pt idx="111">
                  <c:v>18</c:v>
                </c:pt>
                <c:pt idx="112">
                  <c:v>16</c:v>
                </c:pt>
                <c:pt idx="113">
                  <c:v>17</c:v>
                </c:pt>
                <c:pt idx="114">
                  <c:v>19</c:v>
                </c:pt>
                <c:pt idx="115">
                  <c:v>16</c:v>
                </c:pt>
                <c:pt idx="116">
                  <c:v>18</c:v>
                </c:pt>
                <c:pt idx="117">
                  <c:v>16</c:v>
                </c:pt>
                <c:pt idx="118">
                  <c:v>14</c:v>
                </c:pt>
                <c:pt idx="119">
                  <c:v>13</c:v>
                </c:pt>
                <c:pt idx="120">
                  <c:v>9</c:v>
                </c:pt>
                <c:pt idx="121">
                  <c:v>10</c:v>
                </c:pt>
                <c:pt idx="122">
                  <c:v>10</c:v>
                </c:pt>
                <c:pt idx="123">
                  <c:v>12</c:v>
                </c:pt>
                <c:pt idx="124">
                  <c:v>14</c:v>
                </c:pt>
                <c:pt idx="125">
                  <c:v>14</c:v>
                </c:pt>
                <c:pt idx="126">
                  <c:v>16</c:v>
                </c:pt>
                <c:pt idx="127">
                  <c:v>16</c:v>
                </c:pt>
                <c:pt idx="128">
                  <c:v>23</c:v>
                </c:pt>
                <c:pt idx="129">
                  <c:v>26</c:v>
                </c:pt>
                <c:pt idx="130">
                  <c:v>24</c:v>
                </c:pt>
                <c:pt idx="131">
                  <c:v>22</c:v>
                </c:pt>
                <c:pt idx="132">
                  <c:v>24</c:v>
                </c:pt>
                <c:pt idx="133">
                  <c:v>27</c:v>
                </c:pt>
                <c:pt idx="134">
                  <c:v>31</c:v>
                </c:pt>
                <c:pt idx="135">
                  <c:v>35</c:v>
                </c:pt>
                <c:pt idx="136">
                  <c:v>41</c:v>
                </c:pt>
                <c:pt idx="137">
                  <c:v>38</c:v>
                </c:pt>
                <c:pt idx="138">
                  <c:v>43</c:v>
                </c:pt>
                <c:pt idx="139">
                  <c:v>46</c:v>
                </c:pt>
                <c:pt idx="140">
                  <c:v>43</c:v>
                </c:pt>
                <c:pt idx="141">
                  <c:v>40</c:v>
                </c:pt>
                <c:pt idx="142">
                  <c:v>42</c:v>
                </c:pt>
                <c:pt idx="143">
                  <c:v>40</c:v>
                </c:pt>
                <c:pt idx="144">
                  <c:v>38</c:v>
                </c:pt>
                <c:pt idx="145">
                  <c:v>38</c:v>
                </c:pt>
                <c:pt idx="146">
                  <c:v>42</c:v>
                </c:pt>
                <c:pt idx="147">
                  <c:v>46</c:v>
                </c:pt>
                <c:pt idx="148">
                  <c:v>45</c:v>
                </c:pt>
                <c:pt idx="149">
                  <c:v>49</c:v>
                </c:pt>
                <c:pt idx="150">
                  <c:v>53</c:v>
                </c:pt>
                <c:pt idx="151">
                  <c:v>51</c:v>
                </c:pt>
                <c:pt idx="152">
                  <c:v>50</c:v>
                </c:pt>
                <c:pt idx="153">
                  <c:v>45</c:v>
                </c:pt>
                <c:pt idx="154">
                  <c:v>44</c:v>
                </c:pt>
                <c:pt idx="155">
                  <c:v>52</c:v>
                </c:pt>
                <c:pt idx="156">
                  <c:v>58</c:v>
                </c:pt>
                <c:pt idx="157">
                  <c:v>72</c:v>
                </c:pt>
                <c:pt idx="158">
                  <c:v>86</c:v>
                </c:pt>
                <c:pt idx="159">
                  <c:v>75</c:v>
                </c:pt>
                <c:pt idx="160">
                  <c:v>78</c:v>
                </c:pt>
                <c:pt idx="161">
                  <c:v>77</c:v>
                </c:pt>
                <c:pt idx="162">
                  <c:v>77</c:v>
                </c:pt>
                <c:pt idx="163">
                  <c:v>99</c:v>
                </c:pt>
                <c:pt idx="164">
                  <c:v>113</c:v>
                </c:pt>
                <c:pt idx="165">
                  <c:v>114</c:v>
                </c:pt>
                <c:pt idx="166">
                  <c:v>116</c:v>
                </c:pt>
                <c:pt idx="167">
                  <c:v>115</c:v>
                </c:pt>
                <c:pt idx="168">
                  <c:v>112</c:v>
                </c:pt>
                <c:pt idx="169">
                  <c:v>116</c:v>
                </c:pt>
                <c:pt idx="170">
                  <c:v>133</c:v>
                </c:pt>
                <c:pt idx="171">
                  <c:v>146</c:v>
                </c:pt>
                <c:pt idx="172">
                  <c:v>138</c:v>
                </c:pt>
                <c:pt idx="173">
                  <c:v>142</c:v>
                </c:pt>
                <c:pt idx="174">
                  <c:v>153</c:v>
                </c:pt>
                <c:pt idx="175">
                  <c:v>151</c:v>
                </c:pt>
                <c:pt idx="176">
                  <c:v>163</c:v>
                </c:pt>
                <c:pt idx="177">
                  <c:v>171</c:v>
                </c:pt>
                <c:pt idx="178">
                  <c:v>193</c:v>
                </c:pt>
                <c:pt idx="179">
                  <c:v>215</c:v>
                </c:pt>
                <c:pt idx="180">
                  <c:v>209</c:v>
                </c:pt>
                <c:pt idx="181">
                  <c:v>233</c:v>
                </c:pt>
                <c:pt idx="182">
                  <c:v>238</c:v>
                </c:pt>
                <c:pt idx="183">
                  <c:v>267</c:v>
                </c:pt>
                <c:pt idx="184">
                  <c:v>311</c:v>
                </c:pt>
                <c:pt idx="185">
                  <c:v>318</c:v>
                </c:pt>
                <c:pt idx="186">
                  <c:v>345</c:v>
                </c:pt>
                <c:pt idx="187">
                  <c:v>345</c:v>
                </c:pt>
                <c:pt idx="188">
                  <c:v>384</c:v>
                </c:pt>
                <c:pt idx="189">
                  <c:v>389</c:v>
                </c:pt>
                <c:pt idx="190">
                  <c:v>424</c:v>
                </c:pt>
                <c:pt idx="191">
                  <c:v>471</c:v>
                </c:pt>
                <c:pt idx="192">
                  <c:v>487</c:v>
                </c:pt>
                <c:pt idx="193">
                  <c:v>511</c:v>
                </c:pt>
                <c:pt idx="194">
                  <c:v>519</c:v>
                </c:pt>
                <c:pt idx="195">
                  <c:v>527</c:v>
                </c:pt>
                <c:pt idx="196">
                  <c:v>561</c:v>
                </c:pt>
                <c:pt idx="197">
                  <c:v>601</c:v>
                </c:pt>
                <c:pt idx="198">
                  <c:v>644</c:v>
                </c:pt>
                <c:pt idx="199">
                  <c:v>651</c:v>
                </c:pt>
                <c:pt idx="200">
                  <c:v>691</c:v>
                </c:pt>
                <c:pt idx="201">
                  <c:v>716</c:v>
                </c:pt>
                <c:pt idx="202">
                  <c:v>744</c:v>
                </c:pt>
                <c:pt idx="203">
                  <c:v>752</c:v>
                </c:pt>
                <c:pt idx="204">
                  <c:v>779</c:v>
                </c:pt>
                <c:pt idx="205">
                  <c:v>815</c:v>
                </c:pt>
                <c:pt idx="206">
                  <c:v>858</c:v>
                </c:pt>
                <c:pt idx="207">
                  <c:v>864</c:v>
                </c:pt>
                <c:pt idx="208">
                  <c:v>890</c:v>
                </c:pt>
                <c:pt idx="209">
                  <c:v>910</c:v>
                </c:pt>
                <c:pt idx="210">
                  <c:v>928</c:v>
                </c:pt>
                <c:pt idx="211">
                  <c:v>938</c:v>
                </c:pt>
                <c:pt idx="212">
                  <c:v>980</c:v>
                </c:pt>
                <c:pt idx="213">
                  <c:v>982</c:v>
                </c:pt>
                <c:pt idx="214">
                  <c:v>974</c:v>
                </c:pt>
                <c:pt idx="215">
                  <c:v>956</c:v>
                </c:pt>
                <c:pt idx="216">
                  <c:v>948</c:v>
                </c:pt>
                <c:pt idx="217">
                  <c:v>9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358-4843-A083-9E75CCD15D5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07093791"/>
        <c:axId val="209778303"/>
      </c:barChart>
      <c:lineChart>
        <c:grouping val="standard"/>
        <c:varyColors val="0"/>
        <c:ser>
          <c:idx val="0"/>
          <c:order val="0"/>
          <c:tx>
            <c:strRef>
              <c:f>Sheet1!$E$1</c:f>
              <c:strCache>
                <c:ptCount val="1"/>
                <c:pt idx="0">
                  <c:v>B</c:v>
                </c:pt>
              </c:strCache>
            </c:strRef>
          </c:tx>
          <c:spPr>
            <a:ln w="28575" cap="rnd">
              <a:solidFill>
                <a:srgbClr val="C00000"/>
              </a:solidFill>
              <a:prstDash val="sysDot"/>
              <a:round/>
            </a:ln>
            <a:effectLst/>
          </c:spPr>
          <c:marker>
            <c:symbol val="none"/>
          </c:marker>
          <c:val>
            <c:numRef>
              <c:f>Sheet1!$E$2:$E$250</c:f>
              <c:numCache>
                <c:formatCode>General</c:formatCode>
                <c:ptCount val="249"/>
                <c:pt idx="0">
                  <c:v>570.10795305222791</c:v>
                </c:pt>
                <c:pt idx="1">
                  <c:v>534.15608617359487</c:v>
                </c:pt>
                <c:pt idx="2">
                  <c:v>501.37540882674909</c:v>
                </c:pt>
                <c:pt idx="3">
                  <c:v>470.52362934014621</c:v>
                </c:pt>
                <c:pt idx="4">
                  <c:v>439.02795833046144</c:v>
                </c:pt>
                <c:pt idx="5">
                  <c:v>410.56102076910173</c:v>
                </c:pt>
                <c:pt idx="6">
                  <c:v>386.34144938123353</c:v>
                </c:pt>
                <c:pt idx="7">
                  <c:v>365.92497822350947</c:v>
                </c:pt>
                <c:pt idx="8">
                  <c:v>348.02401661906225</c:v>
                </c:pt>
                <c:pt idx="9">
                  <c:v>331.97867466843212</c:v>
                </c:pt>
                <c:pt idx="10">
                  <c:v>316.791395270762</c:v>
                </c:pt>
                <c:pt idx="11">
                  <c:v>301.98847255192561</c:v>
                </c:pt>
                <c:pt idx="12">
                  <c:v>289.96940788472097</c:v>
                </c:pt>
                <c:pt idx="13">
                  <c:v>278.83216002770132</c:v>
                </c:pt>
                <c:pt idx="14">
                  <c:v>267.46431870467558</c:v>
                </c:pt>
                <c:pt idx="15">
                  <c:v>256.31716164052403</c:v>
                </c:pt>
                <c:pt idx="16">
                  <c:v>244.51593245954624</c:v>
                </c:pt>
                <c:pt idx="17">
                  <c:v>233.30953979730097</c:v>
                </c:pt>
                <c:pt idx="18">
                  <c:v>221.9447174997882</c:v>
                </c:pt>
                <c:pt idx="19">
                  <c:v>208.81342646194756</c:v>
                </c:pt>
                <c:pt idx="20">
                  <c:v>194.88789174759063</c:v>
                </c:pt>
                <c:pt idx="21">
                  <c:v>183.91293138301941</c:v>
                </c:pt>
                <c:pt idx="22">
                  <c:v>173.88213548500286</c:v>
                </c:pt>
                <c:pt idx="23">
                  <c:v>164.85477590509456</c:v>
                </c:pt>
                <c:pt idx="24">
                  <c:v>154.82514149213446</c:v>
                </c:pt>
                <c:pt idx="25">
                  <c:v>145.21039074756374</c:v>
                </c:pt>
                <c:pt idx="26">
                  <c:v>138.52114016004091</c:v>
                </c:pt>
                <c:pt idx="27">
                  <c:v>132.41667802218055</c:v>
                </c:pt>
                <c:pt idx="28">
                  <c:v>125.36051020434324</c:v>
                </c:pt>
                <c:pt idx="29">
                  <c:v>118.4744157487125</c:v>
                </c:pt>
                <c:pt idx="30">
                  <c:v>112.33680009981101</c:v>
                </c:pt>
                <c:pt idx="31">
                  <c:v>106.07181325937087</c:v>
                </c:pt>
                <c:pt idx="32">
                  <c:v>100.0819240351974</c:v>
                </c:pt>
                <c:pt idx="33">
                  <c:v>94.166891086978353</c:v>
                </c:pt>
                <c:pt idx="34">
                  <c:v>87.944082037022042</c:v>
                </c:pt>
                <c:pt idx="35">
                  <c:v>81.425152424447901</c:v>
                </c:pt>
                <c:pt idx="36">
                  <c:v>75.457505781802297</c:v>
                </c:pt>
                <c:pt idx="37">
                  <c:v>69.832341210114819</c:v>
                </c:pt>
                <c:pt idx="38">
                  <c:v>65.515114555214069</c:v>
                </c:pt>
                <c:pt idx="39">
                  <c:v>61.952406646071566</c:v>
                </c:pt>
                <c:pt idx="40">
                  <c:v>58.454653021748207</c:v>
                </c:pt>
                <c:pt idx="41">
                  <c:v>55.12686745567909</c:v>
                </c:pt>
                <c:pt idx="42">
                  <c:v>52.86983795293424</c:v>
                </c:pt>
                <c:pt idx="43">
                  <c:v>50.480443163154469</c:v>
                </c:pt>
                <c:pt idx="44">
                  <c:v>48.126885569027088</c:v>
                </c:pt>
                <c:pt idx="45">
                  <c:v>44.590039585728441</c:v>
                </c:pt>
                <c:pt idx="46">
                  <c:v>41.434578046871039</c:v>
                </c:pt>
                <c:pt idx="47">
                  <c:v>38.143923300352995</c:v>
                </c:pt>
                <c:pt idx="48">
                  <c:v>35.602431977757675</c:v>
                </c:pt>
                <c:pt idx="49">
                  <c:v>33.075543074953032</c:v>
                </c:pt>
                <c:pt idx="50">
                  <c:v>31.555250779404897</c:v>
                </c:pt>
                <c:pt idx="51">
                  <c:v>29.560367730168903</c:v>
                </c:pt>
                <c:pt idx="52">
                  <c:v>28.179034284783864</c:v>
                </c:pt>
                <c:pt idx="53">
                  <c:v>26.109294174054927</c:v>
                </c:pt>
                <c:pt idx="54">
                  <c:v>24.830757253576387</c:v>
                </c:pt>
                <c:pt idx="55">
                  <c:v>24.32087287502959</c:v>
                </c:pt>
                <c:pt idx="56">
                  <c:v>23.417456047780135</c:v>
                </c:pt>
                <c:pt idx="57">
                  <c:v>21.751550273329052</c:v>
                </c:pt>
                <c:pt idx="58">
                  <c:v>20.886236577746956</c:v>
                </c:pt>
                <c:pt idx="59">
                  <c:v>20.652207702030775</c:v>
                </c:pt>
                <c:pt idx="60">
                  <c:v>20.304731351979612</c:v>
                </c:pt>
                <c:pt idx="61">
                  <c:v>20.407720586527489</c:v>
                </c:pt>
                <c:pt idx="62">
                  <c:v>18.862479838318585</c:v>
                </c:pt>
                <c:pt idx="63">
                  <c:v>17.948539642750632</c:v>
                </c:pt>
                <c:pt idx="64">
                  <c:v>17.524188612977252</c:v>
                </c:pt>
                <c:pt idx="65">
                  <c:v>18.207189848220697</c:v>
                </c:pt>
                <c:pt idx="66">
                  <c:v>18.65674692024081</c:v>
                </c:pt>
                <c:pt idx="67">
                  <c:v>18.973527693615395</c:v>
                </c:pt>
                <c:pt idx="68">
                  <c:v>18.701439840553796</c:v>
                </c:pt>
                <c:pt idx="69">
                  <c:v>19.034357591734878</c:v>
                </c:pt>
                <c:pt idx="70">
                  <c:v>19.601498949868549</c:v>
                </c:pt>
                <c:pt idx="71">
                  <c:v>20.517258353282852</c:v>
                </c:pt>
                <c:pt idx="72">
                  <c:v>19.883305119497148</c:v>
                </c:pt>
                <c:pt idx="73">
                  <c:v>19.045188566221853</c:v>
                </c:pt>
                <c:pt idx="74">
                  <c:v>19.42180003109414</c:v>
                </c:pt>
                <c:pt idx="75">
                  <c:v>19.761605850058423</c:v>
                </c:pt>
                <c:pt idx="76">
                  <c:v>20.79511718243176</c:v>
                </c:pt>
                <c:pt idx="77">
                  <c:v>21.194382587163521</c:v>
                </c:pt>
                <c:pt idx="78">
                  <c:v>21.312443616489819</c:v>
                </c:pt>
                <c:pt idx="79">
                  <c:v>21.109872987369467</c:v>
                </c:pt>
                <c:pt idx="80">
                  <c:v>19.931774600039276</c:v>
                </c:pt>
                <c:pt idx="81">
                  <c:v>18.854946500365749</c:v>
                </c:pt>
                <c:pt idx="82">
                  <c:v>18.901794324351744</c:v>
                </c:pt>
                <c:pt idx="83">
                  <c:v>18.602755358868588</c:v>
                </c:pt>
                <c:pt idx="84">
                  <c:v>17.715272429577915</c:v>
                </c:pt>
                <c:pt idx="85">
                  <c:v>16.548392342065764</c:v>
                </c:pt>
                <c:pt idx="86">
                  <c:v>15.823821166875478</c:v>
                </c:pt>
                <c:pt idx="87">
                  <c:v>16.599228385888811</c:v>
                </c:pt>
                <c:pt idx="88">
                  <c:v>16.765250790045521</c:v>
                </c:pt>
                <c:pt idx="89">
                  <c:v>16.172650881111238</c:v>
                </c:pt>
                <c:pt idx="90">
                  <c:v>16.126421196711384</c:v>
                </c:pt>
                <c:pt idx="91">
                  <c:v>17.17350780958219</c:v>
                </c:pt>
                <c:pt idx="92">
                  <c:v>18.497843906943508</c:v>
                </c:pt>
                <c:pt idx="93">
                  <c:v>19.295927658249266</c:v>
                </c:pt>
                <c:pt idx="94">
                  <c:v>20.412457339760746</c:v>
                </c:pt>
                <c:pt idx="95">
                  <c:v>21.234176573399438</c:v>
                </c:pt>
                <c:pt idx="96">
                  <c:v>21.516741695247401</c:v>
                </c:pt>
                <c:pt idx="97">
                  <c:v>20.996714237616597</c:v>
                </c:pt>
                <c:pt idx="98">
                  <c:v>19.711169716260393</c:v>
                </c:pt>
                <c:pt idx="99">
                  <c:v>18.83193718212619</c:v>
                </c:pt>
                <c:pt idx="100">
                  <c:v>18.769414919672293</c:v>
                </c:pt>
                <c:pt idx="101">
                  <c:v>18.171235690546013</c:v>
                </c:pt>
                <c:pt idx="102">
                  <c:v>17.848824447843697</c:v>
                </c:pt>
                <c:pt idx="103">
                  <c:v>17.74579902129387</c:v>
                </c:pt>
                <c:pt idx="104">
                  <c:v>18.261682427362341</c:v>
                </c:pt>
                <c:pt idx="105">
                  <c:v>19.166836067283782</c:v>
                </c:pt>
                <c:pt idx="106">
                  <c:v>19.0314714040497</c:v>
                </c:pt>
                <c:pt idx="107">
                  <c:v>18.896713172572962</c:v>
                </c:pt>
                <c:pt idx="108">
                  <c:v>18.710243993840727</c:v>
                </c:pt>
                <c:pt idx="109">
                  <c:v>18.148743668593685</c:v>
                </c:pt>
                <c:pt idx="110">
                  <c:v>17.846909051340639</c:v>
                </c:pt>
                <c:pt idx="111">
                  <c:v>17.309303639434141</c:v>
                </c:pt>
                <c:pt idx="112">
                  <c:v>16.878149314909834</c:v>
                </c:pt>
                <c:pt idx="113">
                  <c:v>16.988578375724725</c:v>
                </c:pt>
                <c:pt idx="114">
                  <c:v>17.243297264538963</c:v>
                </c:pt>
                <c:pt idx="115">
                  <c:v>17.249290095981163</c:v>
                </c:pt>
                <c:pt idx="116">
                  <c:v>17.858922360124993</c:v>
                </c:pt>
                <c:pt idx="117">
                  <c:v>18.000729112716563</c:v>
                </c:pt>
                <c:pt idx="118">
                  <c:v>18.153531165853167</c:v>
                </c:pt>
                <c:pt idx="119">
                  <c:v>18.258910061896398</c:v>
                </c:pt>
                <c:pt idx="120">
                  <c:v>17.669084486004301</c:v>
                </c:pt>
                <c:pt idx="121">
                  <c:v>17.047882754963588</c:v>
                </c:pt>
                <c:pt idx="122">
                  <c:v>16.869927930059976</c:v>
                </c:pt>
                <c:pt idx="123">
                  <c:v>16.426336164406436</c:v>
                </c:pt>
                <c:pt idx="124">
                  <c:v>16.329984531985126</c:v>
                </c:pt>
                <c:pt idx="125">
                  <c:v>16.523697440290736</c:v>
                </c:pt>
                <c:pt idx="126">
                  <c:v>17.178426672644445</c:v>
                </c:pt>
                <c:pt idx="127">
                  <c:v>18.306418981675151</c:v>
                </c:pt>
                <c:pt idx="128">
                  <c:v>19.626962504356893</c:v>
                </c:pt>
                <c:pt idx="129">
                  <c:v>21.004859120419258</c:v>
                </c:pt>
                <c:pt idx="130">
                  <c:v>21.822336590368465</c:v>
                </c:pt>
                <c:pt idx="131">
                  <c:v>22.00125872529043</c:v>
                </c:pt>
                <c:pt idx="132">
                  <c:v>22.088091166068327</c:v>
                </c:pt>
                <c:pt idx="133">
                  <c:v>22.008997426529682</c:v>
                </c:pt>
                <c:pt idx="134">
                  <c:v>22.465354721497352</c:v>
                </c:pt>
                <c:pt idx="135">
                  <c:v>22.481886723217681</c:v>
                </c:pt>
                <c:pt idx="136">
                  <c:v>22.69317309590636</c:v>
                </c:pt>
                <c:pt idx="137">
                  <c:v>23.072029437631087</c:v>
                </c:pt>
                <c:pt idx="138">
                  <c:v>24.647188366878506</c:v>
                </c:pt>
                <c:pt idx="139">
                  <c:v>26.036451716637007</c:v>
                </c:pt>
                <c:pt idx="140">
                  <c:v>27.318206627081771</c:v>
                </c:pt>
                <c:pt idx="141">
                  <c:v>28.200746392903</c:v>
                </c:pt>
                <c:pt idx="142">
                  <c:v>29.33575776507319</c:v>
                </c:pt>
                <c:pt idx="143">
                  <c:v>29.958777508740191</c:v>
                </c:pt>
                <c:pt idx="144">
                  <c:v>30.898712452410241</c:v>
                </c:pt>
                <c:pt idx="145">
                  <c:v>31.333378875578362</c:v>
                </c:pt>
                <c:pt idx="146">
                  <c:v>32.347652600025981</c:v>
                </c:pt>
                <c:pt idx="147">
                  <c:v>33.574070418621922</c:v>
                </c:pt>
                <c:pt idx="148">
                  <c:v>35.051162016808206</c:v>
                </c:pt>
                <c:pt idx="149">
                  <c:v>36.596507751371036</c:v>
                </c:pt>
                <c:pt idx="150">
                  <c:v>38.830754376393941</c:v>
                </c:pt>
                <c:pt idx="151">
                  <c:v>40.713120092054616</c:v>
                </c:pt>
                <c:pt idx="152">
                  <c:v>42.584881130553548</c:v>
                </c:pt>
                <c:pt idx="153">
                  <c:v>43.778938405484865</c:v>
                </c:pt>
                <c:pt idx="154">
                  <c:v>46.256895125656698</c:v>
                </c:pt>
                <c:pt idx="155">
                  <c:v>48.894586405417137</c:v>
                </c:pt>
                <c:pt idx="156">
                  <c:v>51.698195766061261</c:v>
                </c:pt>
                <c:pt idx="157">
                  <c:v>54.674248758673059</c:v>
                </c:pt>
                <c:pt idx="158">
                  <c:v>57.829814082741535</c:v>
                </c:pt>
                <c:pt idx="159">
                  <c:v>61.172221832374603</c:v>
                </c:pt>
                <c:pt idx="160">
                  <c:v>64.709053730113084</c:v>
                </c:pt>
                <c:pt idx="161">
                  <c:v>68.573121560084914</c:v>
                </c:pt>
                <c:pt idx="162">
                  <c:v>72.138175300190483</c:v>
                </c:pt>
                <c:pt idx="163">
                  <c:v>76.113448860245882</c:v>
                </c:pt>
                <c:pt idx="164">
                  <c:v>80.546530947764296</c:v>
                </c:pt>
                <c:pt idx="165">
                  <c:v>85.476813726655266</c:v>
                </c:pt>
                <c:pt idx="166">
                  <c:v>90.94031338108698</c:v>
                </c:pt>
                <c:pt idx="167">
                  <c:v>96.973148046959523</c:v>
                </c:pt>
                <c:pt idx="168">
                  <c:v>103.61024061804855</c:v>
                </c:pt>
                <c:pt idx="169">
                  <c:v>110.88687903083817</c:v>
                </c:pt>
                <c:pt idx="170">
                  <c:v>118.83777483177161</c:v>
                </c:pt>
                <c:pt idx="171">
                  <c:v>127.50006701902619</c:v>
                </c:pt>
                <c:pt idx="172">
                  <c:v>132.2587727808054</c:v>
                </c:pt>
                <c:pt idx="173">
                  <c:v>142.69644713869141</c:v>
                </c:pt>
                <c:pt idx="174">
                  <c:v>153.89479901818751</c:v>
                </c:pt>
                <c:pt idx="175">
                  <c:v>166.7215054503373</c:v>
                </c:pt>
                <c:pt idx="176">
                  <c:v>180.24331463612677</c:v>
                </c:pt>
                <c:pt idx="177">
                  <c:v>194.25317435385207</c:v>
                </c:pt>
                <c:pt idx="178">
                  <c:v>209.27304600649737</c:v>
                </c:pt>
                <c:pt idx="179">
                  <c:v>225.91722818850121</c:v>
                </c:pt>
                <c:pt idx="180">
                  <c:v>243.57274678103411</c:v>
                </c:pt>
                <c:pt idx="181">
                  <c:v>262.66662810337726</c:v>
                </c:pt>
                <c:pt idx="182">
                  <c:v>282.480806473195</c:v>
                </c:pt>
                <c:pt idx="183">
                  <c:v>303.68954399645588</c:v>
                </c:pt>
                <c:pt idx="184">
                  <c:v>325.56498417088363</c:v>
                </c:pt>
                <c:pt idx="185">
                  <c:v>347.83638179243172</c:v>
                </c:pt>
                <c:pt idx="186">
                  <c:v>370.61085962259756</c:v>
                </c:pt>
                <c:pt idx="187">
                  <c:v>392.70562822370675</c:v>
                </c:pt>
                <c:pt idx="188">
                  <c:v>414.57130155890928</c:v>
                </c:pt>
                <c:pt idx="189">
                  <c:v>435.24017449056151</c:v>
                </c:pt>
                <c:pt idx="190">
                  <c:v>455.21642966266347</c:v>
                </c:pt>
                <c:pt idx="191">
                  <c:v>474.02076049256925</c:v>
                </c:pt>
                <c:pt idx="192">
                  <c:v>491.87869025574258</c:v>
                </c:pt>
                <c:pt idx="193">
                  <c:v>508.42767490258842</c:v>
                </c:pt>
                <c:pt idx="194">
                  <c:v>523.49629408279395</c:v>
                </c:pt>
                <c:pt idx="195">
                  <c:v>540.51549826427538</c:v>
                </c:pt>
                <c:pt idx="196">
                  <c:v>571.5910858627758</c:v>
                </c:pt>
                <c:pt idx="197">
                  <c:v>602.78128618527444</c:v>
                </c:pt>
                <c:pt idx="198">
                  <c:v>633.65767568492367</c:v>
                </c:pt>
                <c:pt idx="199">
                  <c:v>665.43341592890374</c:v>
                </c:pt>
                <c:pt idx="200">
                  <c:v>698.61618345308102</c:v>
                </c:pt>
                <c:pt idx="201">
                  <c:v>732.54225933768271</c:v>
                </c:pt>
                <c:pt idx="202">
                  <c:v>767.03291820809523</c:v>
                </c:pt>
                <c:pt idx="203">
                  <c:v>800.71516712438824</c:v>
                </c:pt>
                <c:pt idx="204">
                  <c:v>835.27358124687066</c:v>
                </c:pt>
                <c:pt idx="205">
                  <c:v>870.48853065666231</c:v>
                </c:pt>
                <c:pt idx="206">
                  <c:v>906.80570036789447</c:v>
                </c:pt>
                <c:pt idx="207">
                  <c:v>942.70150185963507</c:v>
                </c:pt>
                <c:pt idx="208">
                  <c:v>978.90032392433909</c:v>
                </c:pt>
                <c:pt idx="209">
                  <c:v>1016.0577294254426</c:v>
                </c:pt>
                <c:pt idx="210">
                  <c:v>1053.2672304785012</c:v>
                </c:pt>
                <c:pt idx="211">
                  <c:v>1090.637222738329</c:v>
                </c:pt>
                <c:pt idx="212">
                  <c:v>1127.9581155742762</c:v>
                </c:pt>
                <c:pt idx="213">
                  <c:v>1165.6791847393633</c:v>
                </c:pt>
                <c:pt idx="214">
                  <c:v>1203.0930349235341</c:v>
                </c:pt>
                <c:pt idx="215">
                  <c:v>1240.0942579410014</c:v>
                </c:pt>
                <c:pt idx="216">
                  <c:v>1276.8724773822505</c:v>
                </c:pt>
                <c:pt idx="217">
                  <c:v>1313.4847162796664</c:v>
                </c:pt>
                <c:pt idx="218">
                  <c:v>1349.3326589612561</c:v>
                </c:pt>
                <c:pt idx="219">
                  <c:v>1384.3653204047293</c:v>
                </c:pt>
                <c:pt idx="220">
                  <c:v>1418.648935416436</c:v>
                </c:pt>
                <c:pt idx="221">
                  <c:v>1452.1168655310275</c:v>
                </c:pt>
                <c:pt idx="222">
                  <c:v>1484.5923372331545</c:v>
                </c:pt>
                <c:pt idx="223">
                  <c:v>1515.8983249539224</c:v>
                </c:pt>
                <c:pt idx="224">
                  <c:v>1546.0559322987924</c:v>
                </c:pt>
                <c:pt idx="225">
                  <c:v>1574.7652533883713</c:v>
                </c:pt>
                <c:pt idx="226">
                  <c:v>1601.9234507262049</c:v>
                </c:pt>
                <c:pt idx="227">
                  <c:v>1627.313656451023</c:v>
                </c:pt>
                <c:pt idx="228">
                  <c:v>1650.9782259636629</c:v>
                </c:pt>
                <c:pt idx="229">
                  <c:v>1672.8158770640275</c:v>
                </c:pt>
                <c:pt idx="230">
                  <c:v>1692.7200867042798</c:v>
                </c:pt>
                <c:pt idx="231">
                  <c:v>1710.5518765775907</c:v>
                </c:pt>
                <c:pt idx="232">
                  <c:v>1726.1949688739619</c:v>
                </c:pt>
                <c:pt idx="233">
                  <c:v>1739.6232706404064</c:v>
                </c:pt>
                <c:pt idx="234">
                  <c:v>1750.7889331175338</c:v>
                </c:pt>
                <c:pt idx="235">
                  <c:v>1759.6370090297041</c:v>
                </c:pt>
                <c:pt idx="236">
                  <c:v>1766.1139568243143</c:v>
                </c:pt>
                <c:pt idx="237">
                  <c:v>1770.2019250764154</c:v>
                </c:pt>
                <c:pt idx="238">
                  <c:v>1771.8910267806193</c:v>
                </c:pt>
                <c:pt idx="239">
                  <c:v>1771.1825775644397</c:v>
                </c:pt>
                <c:pt idx="240">
                  <c:v>1768.0840056424856</c:v>
                </c:pt>
                <c:pt idx="241">
                  <c:v>1762.6204862582392</c:v>
                </c:pt>
                <c:pt idx="242">
                  <c:v>1754.823532372196</c:v>
                </c:pt>
                <c:pt idx="243">
                  <c:v>1744.7323500935113</c:v>
                </c:pt>
                <c:pt idx="244">
                  <c:v>1732.4017006102067</c:v>
                </c:pt>
                <c:pt idx="245">
                  <c:v>1717.8987505964114</c:v>
                </c:pt>
                <c:pt idx="246">
                  <c:v>1701.2975179488428</c:v>
                </c:pt>
                <c:pt idx="247">
                  <c:v>1682.6791354108339</c:v>
                </c:pt>
                <c:pt idx="248">
                  <c:v>1662.133053598002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358-4843-A083-9E75CCD15D5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V2</c:v>
                </c:pt>
              </c:strCache>
            </c:strRef>
          </c:tx>
          <c:spPr>
            <a:ln w="28575" cap="rnd">
              <a:solidFill>
                <a:srgbClr val="FF99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A$2:$A$250</c:f>
              <c:numCache>
                <c:formatCode>m/d/yyyy</c:formatCode>
                <c:ptCount val="24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  <c:pt idx="219">
                  <c:v>44536</c:v>
                </c:pt>
                <c:pt idx="220">
                  <c:v>44537</c:v>
                </c:pt>
                <c:pt idx="221">
                  <c:v>44538</c:v>
                </c:pt>
                <c:pt idx="222">
                  <c:v>44539</c:v>
                </c:pt>
                <c:pt idx="223">
                  <c:v>44540</c:v>
                </c:pt>
                <c:pt idx="224">
                  <c:v>44541</c:v>
                </c:pt>
                <c:pt idx="225">
                  <c:v>44542</c:v>
                </c:pt>
                <c:pt idx="226">
                  <c:v>44543</c:v>
                </c:pt>
                <c:pt idx="227">
                  <c:v>44544</c:v>
                </c:pt>
                <c:pt idx="228">
                  <c:v>44545</c:v>
                </c:pt>
                <c:pt idx="229">
                  <c:v>44546</c:v>
                </c:pt>
                <c:pt idx="230">
                  <c:v>44547</c:v>
                </c:pt>
                <c:pt idx="231">
                  <c:v>44548</c:v>
                </c:pt>
                <c:pt idx="232">
                  <c:v>44549</c:v>
                </c:pt>
                <c:pt idx="233">
                  <c:v>44550</c:v>
                </c:pt>
                <c:pt idx="234">
                  <c:v>44551</c:v>
                </c:pt>
                <c:pt idx="235">
                  <c:v>44552</c:v>
                </c:pt>
                <c:pt idx="236">
                  <c:v>44553</c:v>
                </c:pt>
                <c:pt idx="237">
                  <c:v>44554</c:v>
                </c:pt>
                <c:pt idx="238">
                  <c:v>44555</c:v>
                </c:pt>
                <c:pt idx="239">
                  <c:v>44556</c:v>
                </c:pt>
                <c:pt idx="240">
                  <c:v>44557</c:v>
                </c:pt>
                <c:pt idx="241">
                  <c:v>44558</c:v>
                </c:pt>
                <c:pt idx="242">
                  <c:v>44559</c:v>
                </c:pt>
                <c:pt idx="243">
                  <c:v>44560</c:v>
                </c:pt>
                <c:pt idx="244">
                  <c:v>44561</c:v>
                </c:pt>
                <c:pt idx="245">
                  <c:v>44562</c:v>
                </c:pt>
                <c:pt idx="246">
                  <c:v>44563</c:v>
                </c:pt>
                <c:pt idx="247">
                  <c:v>44564</c:v>
                </c:pt>
                <c:pt idx="248">
                  <c:v>44565</c:v>
                </c:pt>
              </c:numCache>
            </c:numRef>
          </c:cat>
          <c:val>
            <c:numRef>
              <c:f>Sheet1!$C$2:$C$250</c:f>
              <c:numCache>
                <c:formatCode>General</c:formatCode>
                <c:ptCount val="249"/>
                <c:pt idx="195">
                  <c:v>538.34653645065316</c:v>
                </c:pt>
                <c:pt idx="196">
                  <c:v>566.3775340375945</c:v>
                </c:pt>
                <c:pt idx="197">
                  <c:v>593.53728122139341</c:v>
                </c:pt>
                <c:pt idx="198">
                  <c:v>619.29628634537175</c:v>
                </c:pt>
                <c:pt idx="199">
                  <c:v>644.79770503473469</c:v>
                </c:pt>
                <c:pt idx="200">
                  <c:v>670.44258291493816</c:v>
                </c:pt>
                <c:pt idx="201">
                  <c:v>695.53842156704866</c:v>
                </c:pt>
                <c:pt idx="202">
                  <c:v>719.85190196455505</c:v>
                </c:pt>
                <c:pt idx="203">
                  <c:v>742.00043602806977</c:v>
                </c:pt>
                <c:pt idx="204">
                  <c:v>763.64898141441938</c:v>
                </c:pt>
                <c:pt idx="205">
                  <c:v>784.57780034781422</c:v>
                </c:pt>
                <c:pt idx="206">
                  <c:v>805.25814425479871</c:v>
                </c:pt>
                <c:pt idx="207">
                  <c:v>824.18597696438064</c:v>
                </c:pt>
                <c:pt idx="208">
                  <c:v>842.13561239532044</c:v>
                </c:pt>
                <c:pt idx="209">
                  <c:v>859.80376950117602</c:v>
                </c:pt>
                <c:pt idx="210">
                  <c:v>876.3469461229945</c:v>
                </c:pt>
                <c:pt idx="211">
                  <c:v>891.94882551208582</c:v>
                </c:pt>
                <c:pt idx="212">
                  <c:v>906.52036102609327</c:v>
                </c:pt>
                <c:pt idx="213">
                  <c:v>920.58325715208446</c:v>
                </c:pt>
                <c:pt idx="214">
                  <c:v>933.55536588028576</c:v>
                </c:pt>
                <c:pt idx="215">
                  <c:v>945.42822341929059</c:v>
                </c:pt>
                <c:pt idx="216">
                  <c:v>956.48680799755061</c:v>
                </c:pt>
                <c:pt idx="217">
                  <c:v>966.91252893245849</c:v>
                </c:pt>
                <c:pt idx="218">
                  <c:v>976.23302503778325</c:v>
                </c:pt>
                <c:pt idx="219">
                  <c:v>984.51664838935426</c:v>
                </c:pt>
                <c:pt idx="220">
                  <c:v>991.93928923474482</c:v>
                </c:pt>
                <c:pt idx="221">
                  <c:v>998.55810901371012</c:v>
                </c:pt>
                <c:pt idx="222">
                  <c:v>1004.3210934838614</c:v>
                </c:pt>
                <c:pt idx="223">
                  <c:v>1009.1809084903009</c:v>
                </c:pt>
                <c:pt idx="224">
                  <c:v>1013.2878832646475</c:v>
                </c:pt>
                <c:pt idx="225">
                  <c:v>1016.4748329969786</c:v>
                </c:pt>
                <c:pt idx="226">
                  <c:v>1018.758024779135</c:v>
                </c:pt>
                <c:pt idx="227">
                  <c:v>1020.0411942973701</c:v>
                </c:pt>
                <c:pt idx="228">
                  <c:v>1020.4768913088463</c:v>
                </c:pt>
                <c:pt idx="229">
                  <c:v>1020.0732762357501</c:v>
                </c:pt>
                <c:pt idx="230">
                  <c:v>1018.8275369639042</c:v>
                </c:pt>
                <c:pt idx="231">
                  <c:v>1016.7053489876225</c:v>
                </c:pt>
                <c:pt idx="232">
                  <c:v>1013.6836793699539</c:v>
                </c:pt>
                <c:pt idx="233">
                  <c:v>1009.8145291756862</c:v>
                </c:pt>
                <c:pt idx="234">
                  <c:v>1005.1240476885005</c:v>
                </c:pt>
                <c:pt idx="235">
                  <c:v>999.62215682422038</c:v>
                </c:pt>
                <c:pt idx="236">
                  <c:v>993.31067810810487</c:v>
                </c:pt>
                <c:pt idx="237">
                  <c:v>986.2174100277025</c:v>
                </c:pt>
                <c:pt idx="238">
                  <c:v>978.3679830502216</c:v>
                </c:pt>
                <c:pt idx="239">
                  <c:v>969.78903810151735</c:v>
                </c:pt>
                <c:pt idx="240">
                  <c:v>960.5030380806902</c:v>
                </c:pt>
                <c:pt idx="241">
                  <c:v>950.54002594936969</c:v>
                </c:pt>
                <c:pt idx="242">
                  <c:v>939.92643156297208</c:v>
                </c:pt>
                <c:pt idx="243">
                  <c:v>928.68679284497784</c:v>
                </c:pt>
                <c:pt idx="244">
                  <c:v>916.85197503342897</c:v>
                </c:pt>
                <c:pt idx="245">
                  <c:v>904.45639301939104</c:v>
                </c:pt>
                <c:pt idx="246">
                  <c:v>891.53295792184622</c:v>
                </c:pt>
                <c:pt idx="247">
                  <c:v>878.11396244792013</c:v>
                </c:pt>
                <c:pt idx="248">
                  <c:v>864.233013927154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358-4843-A083-9E75CCD15D58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V3</c:v>
                </c:pt>
              </c:strCache>
            </c:strRef>
          </c:tx>
          <c:spPr>
            <a:ln w="28575" cap="rnd">
              <a:solidFill>
                <a:srgbClr val="4472C4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250</c:f>
              <c:numCache>
                <c:formatCode>m/d/yyyy</c:formatCode>
                <c:ptCount val="24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  <c:pt idx="219">
                  <c:v>44536</c:v>
                </c:pt>
                <c:pt idx="220">
                  <c:v>44537</c:v>
                </c:pt>
                <c:pt idx="221">
                  <c:v>44538</c:v>
                </c:pt>
                <c:pt idx="222">
                  <c:v>44539</c:v>
                </c:pt>
                <c:pt idx="223">
                  <c:v>44540</c:v>
                </c:pt>
                <c:pt idx="224">
                  <c:v>44541</c:v>
                </c:pt>
                <c:pt idx="225">
                  <c:v>44542</c:v>
                </c:pt>
                <c:pt idx="226">
                  <c:v>44543</c:v>
                </c:pt>
                <c:pt idx="227">
                  <c:v>44544</c:v>
                </c:pt>
                <c:pt idx="228">
                  <c:v>44545</c:v>
                </c:pt>
                <c:pt idx="229">
                  <c:v>44546</c:v>
                </c:pt>
                <c:pt idx="230">
                  <c:v>44547</c:v>
                </c:pt>
                <c:pt idx="231">
                  <c:v>44548</c:v>
                </c:pt>
                <c:pt idx="232">
                  <c:v>44549</c:v>
                </c:pt>
                <c:pt idx="233">
                  <c:v>44550</c:v>
                </c:pt>
                <c:pt idx="234">
                  <c:v>44551</c:v>
                </c:pt>
                <c:pt idx="235">
                  <c:v>44552</c:v>
                </c:pt>
                <c:pt idx="236">
                  <c:v>44553</c:v>
                </c:pt>
                <c:pt idx="237">
                  <c:v>44554</c:v>
                </c:pt>
                <c:pt idx="238">
                  <c:v>44555</c:v>
                </c:pt>
                <c:pt idx="239">
                  <c:v>44556</c:v>
                </c:pt>
                <c:pt idx="240">
                  <c:v>44557</c:v>
                </c:pt>
                <c:pt idx="241">
                  <c:v>44558</c:v>
                </c:pt>
                <c:pt idx="242">
                  <c:v>44559</c:v>
                </c:pt>
                <c:pt idx="243">
                  <c:v>44560</c:v>
                </c:pt>
                <c:pt idx="244">
                  <c:v>44561</c:v>
                </c:pt>
                <c:pt idx="245">
                  <c:v>44562</c:v>
                </c:pt>
                <c:pt idx="246">
                  <c:v>44563</c:v>
                </c:pt>
                <c:pt idx="247">
                  <c:v>44564</c:v>
                </c:pt>
                <c:pt idx="248">
                  <c:v>44565</c:v>
                </c:pt>
              </c:numCache>
            </c:numRef>
          </c:cat>
          <c:val>
            <c:numRef>
              <c:f>Sheet1!$D$2:$D$250</c:f>
              <c:numCache>
                <c:formatCode>General</c:formatCode>
                <c:ptCount val="249"/>
                <c:pt idx="195">
                  <c:v>539.42795017618573</c:v>
                </c:pt>
                <c:pt idx="196">
                  <c:v>568.97315736335486</c:v>
                </c:pt>
                <c:pt idx="197">
                  <c:v>598.1315041085453</c:v>
                </c:pt>
                <c:pt idx="198">
                  <c:v>626.41969743022628</c:v>
                </c:pt>
                <c:pt idx="199">
                  <c:v>655.01089073764501</c:v>
                </c:pt>
                <c:pt idx="200">
                  <c:v>684.35382358599531</c:v>
                </c:pt>
                <c:pt idx="201">
                  <c:v>713.76435200672961</c:v>
                </c:pt>
                <c:pt idx="202">
                  <c:v>743.03004175543219</c:v>
                </c:pt>
                <c:pt idx="203">
                  <c:v>770.766517488506</c:v>
                </c:pt>
                <c:pt idx="204">
                  <c:v>798.64187711591785</c:v>
                </c:pt>
                <c:pt idx="205">
                  <c:v>826.42985741506754</c:v>
                </c:pt>
                <c:pt idx="206">
                  <c:v>854.58263757347913</c:v>
                </c:pt>
                <c:pt idx="207">
                  <c:v>881.58054805199367</c:v>
                </c:pt>
                <c:pt idx="208">
                  <c:v>908.16769807312016</c:v>
                </c:pt>
                <c:pt idx="209">
                  <c:v>935.01565076027282</c:v>
                </c:pt>
                <c:pt idx="210">
                  <c:v>961.24569155628285</c:v>
                </c:pt>
                <c:pt idx="211">
                  <c:v>987.00108213151634</c:v>
                </c:pt>
                <c:pt idx="212">
                  <c:v>1012.1308299236841</c:v>
                </c:pt>
                <c:pt idx="213">
                  <c:v>1037.1199403648313</c:v>
                </c:pt>
                <c:pt idx="214">
                  <c:v>1061.3245002309604</c:v>
                </c:pt>
                <c:pt idx="215">
                  <c:v>1084.6898012894039</c:v>
                </c:pt>
                <c:pt idx="216">
                  <c:v>1107.4567573587524</c:v>
                </c:pt>
                <c:pt idx="217">
                  <c:v>1129.7496142613702</c:v>
                </c:pt>
                <c:pt idx="218">
                  <c:v>1151.0393588208663</c:v>
                </c:pt>
                <c:pt idx="219">
                  <c:v>1171.3422472676352</c:v>
                </c:pt>
                <c:pt idx="220">
                  <c:v>1190.7882001243631</c:v>
                </c:pt>
                <c:pt idx="221">
                  <c:v>1209.3825298062034</c:v>
                </c:pt>
                <c:pt idx="222">
                  <c:v>1227.0219736038248</c:v>
                </c:pt>
                <c:pt idx="223">
                  <c:v>1243.6064356066204</c:v>
                </c:pt>
                <c:pt idx="224">
                  <c:v>1259.2345301756518</c:v>
                </c:pt>
                <c:pt idx="225">
                  <c:v>1273.6862264634728</c:v>
                </c:pt>
                <c:pt idx="226">
                  <c:v>1286.9321870926633</c:v>
                </c:pt>
                <c:pt idx="227">
                  <c:v>1298.8300724689871</c:v>
                </c:pt>
                <c:pt idx="228">
                  <c:v>1309.4916527318251</c:v>
                </c:pt>
                <c:pt idx="229">
                  <c:v>1318.8845836412895</c:v>
                </c:pt>
                <c:pt idx="230">
                  <c:v>1326.9681222485583</c:v>
                </c:pt>
                <c:pt idx="231">
                  <c:v>1333.6690666647505</c:v>
                </c:pt>
                <c:pt idx="232">
                  <c:v>1338.930546977155</c:v>
                </c:pt>
                <c:pt idx="233">
                  <c:v>1342.7774565222339</c:v>
                </c:pt>
                <c:pt idx="234">
                  <c:v>1345.2098877066833</c:v>
                </c:pt>
                <c:pt idx="235">
                  <c:v>1346.2151346762907</c:v>
                </c:pt>
                <c:pt idx="236">
                  <c:v>1345.7758817215599</c:v>
                </c:pt>
                <c:pt idx="237">
                  <c:v>1343.904277604388</c:v>
                </c:pt>
                <c:pt idx="238">
                  <c:v>1340.613916579005</c:v>
                </c:pt>
                <c:pt idx="239">
                  <c:v>1335.9229836655982</c:v>
                </c:pt>
                <c:pt idx="240">
                  <c:v>1329.8490735910939</c:v>
                </c:pt>
                <c:pt idx="241">
                  <c:v>1322.4208701280554</c:v>
                </c:pt>
                <c:pt idx="242">
                  <c:v>1313.6668531908967</c:v>
                </c:pt>
                <c:pt idx="243">
                  <c:v>1303.6168668083906</c:v>
                </c:pt>
                <c:pt idx="244">
                  <c:v>1292.3102075588404</c:v>
                </c:pt>
                <c:pt idx="245">
                  <c:v>1279.7927303310021</c:v>
                </c:pt>
                <c:pt idx="246">
                  <c:v>1266.1116307990249</c:v>
                </c:pt>
                <c:pt idx="247">
                  <c:v>1251.3161224681357</c:v>
                </c:pt>
                <c:pt idx="248">
                  <c:v>1235.45907548037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358-4843-A083-9E75CCD15D58}"/>
            </c:ext>
          </c:extLst>
        </c:ser>
        <c:ser>
          <c:idx val="4"/>
          <c:order val="3"/>
          <c:tx>
            <c:strRef>
              <c:f>Sheet1!$F$1</c:f>
              <c:strCache>
                <c:ptCount val="1"/>
                <c:pt idx="0">
                  <c:v>C</c:v>
                </c:pt>
              </c:strCache>
            </c:strRef>
          </c:tx>
          <c:spPr>
            <a:ln w="28575" cap="rnd">
              <a:solidFill>
                <a:srgbClr val="FF9900"/>
              </a:solidFill>
              <a:round/>
            </a:ln>
            <a:effectLst/>
          </c:spPr>
          <c:marker>
            <c:symbol val="none"/>
          </c:marker>
          <c:cat>
            <c:numRef>
              <c:f>Sheet1!$A$2:$A$250</c:f>
              <c:numCache>
                <c:formatCode>m/d/yyyy</c:formatCode>
                <c:ptCount val="24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  <c:pt idx="219">
                  <c:v>44536</c:v>
                </c:pt>
                <c:pt idx="220">
                  <c:v>44537</c:v>
                </c:pt>
                <c:pt idx="221">
                  <c:v>44538</c:v>
                </c:pt>
                <c:pt idx="222">
                  <c:v>44539</c:v>
                </c:pt>
                <c:pt idx="223">
                  <c:v>44540</c:v>
                </c:pt>
                <c:pt idx="224">
                  <c:v>44541</c:v>
                </c:pt>
                <c:pt idx="225">
                  <c:v>44542</c:v>
                </c:pt>
                <c:pt idx="226">
                  <c:v>44543</c:v>
                </c:pt>
                <c:pt idx="227">
                  <c:v>44544</c:v>
                </c:pt>
                <c:pt idx="228">
                  <c:v>44545</c:v>
                </c:pt>
                <c:pt idx="229">
                  <c:v>44546</c:v>
                </c:pt>
                <c:pt idx="230">
                  <c:v>44547</c:v>
                </c:pt>
                <c:pt idx="231">
                  <c:v>44548</c:v>
                </c:pt>
                <c:pt idx="232">
                  <c:v>44549</c:v>
                </c:pt>
                <c:pt idx="233">
                  <c:v>44550</c:v>
                </c:pt>
                <c:pt idx="234">
                  <c:v>44551</c:v>
                </c:pt>
                <c:pt idx="235">
                  <c:v>44552</c:v>
                </c:pt>
                <c:pt idx="236">
                  <c:v>44553</c:v>
                </c:pt>
                <c:pt idx="237">
                  <c:v>44554</c:v>
                </c:pt>
                <c:pt idx="238">
                  <c:v>44555</c:v>
                </c:pt>
                <c:pt idx="239">
                  <c:v>44556</c:v>
                </c:pt>
                <c:pt idx="240">
                  <c:v>44557</c:v>
                </c:pt>
                <c:pt idx="241">
                  <c:v>44558</c:v>
                </c:pt>
                <c:pt idx="242">
                  <c:v>44559</c:v>
                </c:pt>
                <c:pt idx="243">
                  <c:v>44560</c:v>
                </c:pt>
                <c:pt idx="244">
                  <c:v>44561</c:v>
                </c:pt>
                <c:pt idx="245">
                  <c:v>44562</c:v>
                </c:pt>
                <c:pt idx="246">
                  <c:v>44563</c:v>
                </c:pt>
                <c:pt idx="247">
                  <c:v>44564</c:v>
                </c:pt>
                <c:pt idx="248">
                  <c:v>44565</c:v>
                </c:pt>
              </c:numCache>
            </c:numRef>
          </c:cat>
          <c:val>
            <c:numRef>
              <c:f>Sheet1!$F$2:$F$250</c:f>
              <c:numCache>
                <c:formatCode>General</c:formatCode>
                <c:ptCount val="249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1358-4843-A083-9E75CCD15D5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093791"/>
        <c:axId val="209778303"/>
      </c:lineChart>
      <c:catAx>
        <c:axId val="20709379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9778303"/>
        <c:crosses val="autoZero"/>
        <c:auto val="1"/>
        <c:lblAlgn val="ctr"/>
        <c:lblOffset val="100"/>
        <c:tickLblSkip val="7"/>
        <c:noMultiLvlLbl val="1"/>
      </c:catAx>
      <c:valAx>
        <c:axId val="20977830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70937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1"/>
        <c:delete val="1"/>
      </c:legendEntry>
      <c:legendEntry>
        <c:idx val="2"/>
        <c:delete val="1"/>
      </c:legendEntry>
      <c:legendEntry>
        <c:idx val="3"/>
        <c:delete val="1"/>
      </c:legendEntry>
      <c:legendEntry>
        <c:idx val="4"/>
        <c:delete val="1"/>
      </c:legendEntry>
      <c:layout>
        <c:manualLayout>
          <c:xMode val="edge"/>
          <c:yMode val="edge"/>
          <c:x val="0.20000242690338468"/>
          <c:y val="4.6874997116449491E-2"/>
          <c:w val="0.14188217964413682"/>
          <c:h val="4.7962349411764922E-2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5"/>
          <c:order val="4"/>
          <c:tx>
            <c:strRef>
              <c:f>Sheet1!$G$1</c:f>
              <c:strCache>
                <c:ptCount val="1"/>
                <c:pt idx="0">
                  <c:v>Reálná data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250</c:f>
              <c:numCache>
                <c:formatCode>m/d/yyyy</c:formatCode>
                <c:ptCount val="24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  <c:pt idx="219">
                  <c:v>44536</c:v>
                </c:pt>
                <c:pt idx="220">
                  <c:v>44537</c:v>
                </c:pt>
                <c:pt idx="221">
                  <c:v>44538</c:v>
                </c:pt>
                <c:pt idx="222">
                  <c:v>44539</c:v>
                </c:pt>
                <c:pt idx="223">
                  <c:v>44540</c:v>
                </c:pt>
                <c:pt idx="224">
                  <c:v>44541</c:v>
                </c:pt>
                <c:pt idx="225">
                  <c:v>44542</c:v>
                </c:pt>
                <c:pt idx="226">
                  <c:v>44543</c:v>
                </c:pt>
                <c:pt idx="227">
                  <c:v>44544</c:v>
                </c:pt>
                <c:pt idx="228">
                  <c:v>44545</c:v>
                </c:pt>
                <c:pt idx="229">
                  <c:v>44546</c:v>
                </c:pt>
                <c:pt idx="230">
                  <c:v>44547</c:v>
                </c:pt>
                <c:pt idx="231">
                  <c:v>44548</c:v>
                </c:pt>
                <c:pt idx="232">
                  <c:v>44549</c:v>
                </c:pt>
                <c:pt idx="233">
                  <c:v>44550</c:v>
                </c:pt>
                <c:pt idx="234">
                  <c:v>44551</c:v>
                </c:pt>
                <c:pt idx="235">
                  <c:v>44552</c:v>
                </c:pt>
                <c:pt idx="236">
                  <c:v>44553</c:v>
                </c:pt>
                <c:pt idx="237">
                  <c:v>44554</c:v>
                </c:pt>
                <c:pt idx="238">
                  <c:v>44555</c:v>
                </c:pt>
                <c:pt idx="239">
                  <c:v>44556</c:v>
                </c:pt>
                <c:pt idx="240">
                  <c:v>44557</c:v>
                </c:pt>
                <c:pt idx="241">
                  <c:v>44558</c:v>
                </c:pt>
                <c:pt idx="242">
                  <c:v>44559</c:v>
                </c:pt>
                <c:pt idx="243">
                  <c:v>44560</c:v>
                </c:pt>
                <c:pt idx="244">
                  <c:v>44561</c:v>
                </c:pt>
                <c:pt idx="245">
                  <c:v>44562</c:v>
                </c:pt>
                <c:pt idx="246">
                  <c:v>44563</c:v>
                </c:pt>
                <c:pt idx="247">
                  <c:v>44564</c:v>
                </c:pt>
                <c:pt idx="248">
                  <c:v>44565</c:v>
                </c:pt>
              </c:numCache>
            </c:numRef>
          </c:cat>
          <c:val>
            <c:numRef>
              <c:f>Sheet1!$G$2:$G$250</c:f>
              <c:numCache>
                <c:formatCode>General</c:formatCode>
                <c:ptCount val="249"/>
                <c:pt idx="0">
                  <c:v>33</c:v>
                </c:pt>
                <c:pt idx="1">
                  <c:v>34</c:v>
                </c:pt>
                <c:pt idx="2">
                  <c:v>39</c:v>
                </c:pt>
                <c:pt idx="3">
                  <c:v>44</c:v>
                </c:pt>
                <c:pt idx="4">
                  <c:v>37</c:v>
                </c:pt>
                <c:pt idx="5">
                  <c:v>43</c:v>
                </c:pt>
                <c:pt idx="6">
                  <c:v>28</c:v>
                </c:pt>
                <c:pt idx="7">
                  <c:v>31</c:v>
                </c:pt>
                <c:pt idx="8">
                  <c:v>34</c:v>
                </c:pt>
                <c:pt idx="9">
                  <c:v>33</c:v>
                </c:pt>
                <c:pt idx="10">
                  <c:v>33</c:v>
                </c:pt>
                <c:pt idx="11">
                  <c:v>33</c:v>
                </c:pt>
                <c:pt idx="12">
                  <c:v>21</c:v>
                </c:pt>
                <c:pt idx="13">
                  <c:v>18</c:v>
                </c:pt>
                <c:pt idx="14">
                  <c:v>16</c:v>
                </c:pt>
                <c:pt idx="15">
                  <c:v>13</c:v>
                </c:pt>
                <c:pt idx="16">
                  <c:v>23</c:v>
                </c:pt>
                <c:pt idx="17">
                  <c:v>14</c:v>
                </c:pt>
                <c:pt idx="18">
                  <c:v>16</c:v>
                </c:pt>
                <c:pt idx="19">
                  <c:v>17</c:v>
                </c:pt>
                <c:pt idx="20">
                  <c:v>13</c:v>
                </c:pt>
                <c:pt idx="21">
                  <c:v>11</c:v>
                </c:pt>
                <c:pt idx="22">
                  <c:v>12</c:v>
                </c:pt>
                <c:pt idx="23">
                  <c:v>7</c:v>
                </c:pt>
                <c:pt idx="24">
                  <c:v>8</c:v>
                </c:pt>
                <c:pt idx="25">
                  <c:v>10</c:v>
                </c:pt>
                <c:pt idx="26">
                  <c:v>15</c:v>
                </c:pt>
                <c:pt idx="27">
                  <c:v>7</c:v>
                </c:pt>
                <c:pt idx="28">
                  <c:v>6</c:v>
                </c:pt>
                <c:pt idx="29">
                  <c:v>4</c:v>
                </c:pt>
                <c:pt idx="30">
                  <c:v>10</c:v>
                </c:pt>
                <c:pt idx="31">
                  <c:v>6</c:v>
                </c:pt>
                <c:pt idx="32">
                  <c:v>5</c:v>
                </c:pt>
                <c:pt idx="33">
                  <c:v>3</c:v>
                </c:pt>
                <c:pt idx="34">
                  <c:v>7</c:v>
                </c:pt>
                <c:pt idx="35">
                  <c:v>2</c:v>
                </c:pt>
                <c:pt idx="36">
                  <c:v>4</c:v>
                </c:pt>
                <c:pt idx="37">
                  <c:v>4</c:v>
                </c:pt>
                <c:pt idx="38">
                  <c:v>6</c:v>
                </c:pt>
                <c:pt idx="39">
                  <c:v>2</c:v>
                </c:pt>
                <c:pt idx="40">
                  <c:v>6</c:v>
                </c:pt>
                <c:pt idx="41">
                  <c:v>2</c:v>
                </c:pt>
                <c:pt idx="42">
                  <c:v>4</c:v>
                </c:pt>
                <c:pt idx="43">
                  <c:v>3</c:v>
                </c:pt>
                <c:pt idx="45">
                  <c:v>4</c:v>
                </c:pt>
                <c:pt idx="46">
                  <c:v>1</c:v>
                </c:pt>
                <c:pt idx="47">
                  <c:v>4</c:v>
                </c:pt>
                <c:pt idx="48">
                  <c:v>3</c:v>
                </c:pt>
                <c:pt idx="50">
                  <c:v>1</c:v>
                </c:pt>
                <c:pt idx="51">
                  <c:v>1</c:v>
                </c:pt>
                <c:pt idx="52">
                  <c:v>3</c:v>
                </c:pt>
                <c:pt idx="54">
                  <c:v>4</c:v>
                </c:pt>
                <c:pt idx="55">
                  <c:v>1</c:v>
                </c:pt>
                <c:pt idx="56">
                  <c:v>2</c:v>
                </c:pt>
                <c:pt idx="60">
                  <c:v>2</c:v>
                </c:pt>
                <c:pt idx="61">
                  <c:v>1</c:v>
                </c:pt>
                <c:pt idx="62">
                  <c:v>2</c:v>
                </c:pt>
                <c:pt idx="64">
                  <c:v>2</c:v>
                </c:pt>
                <c:pt idx="67">
                  <c:v>1</c:v>
                </c:pt>
                <c:pt idx="71">
                  <c:v>2</c:v>
                </c:pt>
                <c:pt idx="76">
                  <c:v>2</c:v>
                </c:pt>
                <c:pt idx="78">
                  <c:v>1</c:v>
                </c:pt>
                <c:pt idx="79">
                  <c:v>2</c:v>
                </c:pt>
                <c:pt idx="81">
                  <c:v>1</c:v>
                </c:pt>
                <c:pt idx="91">
                  <c:v>2</c:v>
                </c:pt>
                <c:pt idx="92">
                  <c:v>2</c:v>
                </c:pt>
                <c:pt idx="93">
                  <c:v>1</c:v>
                </c:pt>
                <c:pt idx="96">
                  <c:v>1</c:v>
                </c:pt>
                <c:pt idx="97">
                  <c:v>2</c:v>
                </c:pt>
                <c:pt idx="100">
                  <c:v>1</c:v>
                </c:pt>
                <c:pt idx="102">
                  <c:v>1</c:v>
                </c:pt>
                <c:pt idx="106">
                  <c:v>3</c:v>
                </c:pt>
                <c:pt idx="107">
                  <c:v>3</c:v>
                </c:pt>
                <c:pt idx="108">
                  <c:v>1</c:v>
                </c:pt>
                <c:pt idx="109">
                  <c:v>2</c:v>
                </c:pt>
                <c:pt idx="110">
                  <c:v>2</c:v>
                </c:pt>
                <c:pt idx="111">
                  <c:v>1</c:v>
                </c:pt>
                <c:pt idx="114">
                  <c:v>1</c:v>
                </c:pt>
                <c:pt idx="115">
                  <c:v>1</c:v>
                </c:pt>
                <c:pt idx="116">
                  <c:v>2</c:v>
                </c:pt>
                <c:pt idx="118">
                  <c:v>1</c:v>
                </c:pt>
                <c:pt idx="119">
                  <c:v>2</c:v>
                </c:pt>
                <c:pt idx="120">
                  <c:v>1</c:v>
                </c:pt>
                <c:pt idx="124">
                  <c:v>2</c:v>
                </c:pt>
                <c:pt idx="128">
                  <c:v>1</c:v>
                </c:pt>
                <c:pt idx="129">
                  <c:v>2</c:v>
                </c:pt>
                <c:pt idx="130">
                  <c:v>1</c:v>
                </c:pt>
                <c:pt idx="134">
                  <c:v>2</c:v>
                </c:pt>
                <c:pt idx="136">
                  <c:v>3</c:v>
                </c:pt>
                <c:pt idx="137">
                  <c:v>3</c:v>
                </c:pt>
                <c:pt idx="139">
                  <c:v>2</c:v>
                </c:pt>
                <c:pt idx="140">
                  <c:v>5</c:v>
                </c:pt>
                <c:pt idx="141">
                  <c:v>2</c:v>
                </c:pt>
                <c:pt idx="142">
                  <c:v>4</c:v>
                </c:pt>
                <c:pt idx="143">
                  <c:v>2</c:v>
                </c:pt>
                <c:pt idx="144">
                  <c:v>2</c:v>
                </c:pt>
                <c:pt idx="145">
                  <c:v>3</c:v>
                </c:pt>
                <c:pt idx="147">
                  <c:v>2</c:v>
                </c:pt>
                <c:pt idx="150">
                  <c:v>3</c:v>
                </c:pt>
                <c:pt idx="151">
                  <c:v>5</c:v>
                </c:pt>
                <c:pt idx="152">
                  <c:v>1</c:v>
                </c:pt>
                <c:pt idx="153">
                  <c:v>1</c:v>
                </c:pt>
                <c:pt idx="154">
                  <c:v>1</c:v>
                </c:pt>
                <c:pt idx="155">
                  <c:v>4</c:v>
                </c:pt>
                <c:pt idx="156">
                  <c:v>4</c:v>
                </c:pt>
                <c:pt idx="157">
                  <c:v>3</c:v>
                </c:pt>
                <c:pt idx="158">
                  <c:v>5</c:v>
                </c:pt>
                <c:pt idx="159">
                  <c:v>3</c:v>
                </c:pt>
                <c:pt idx="160">
                  <c:v>4</c:v>
                </c:pt>
                <c:pt idx="161">
                  <c:v>3</c:v>
                </c:pt>
                <c:pt idx="162">
                  <c:v>4</c:v>
                </c:pt>
                <c:pt idx="163">
                  <c:v>5</c:v>
                </c:pt>
                <c:pt idx="164">
                  <c:v>7</c:v>
                </c:pt>
                <c:pt idx="165">
                  <c:v>6</c:v>
                </c:pt>
                <c:pt idx="166">
                  <c:v>6</c:v>
                </c:pt>
                <c:pt idx="167">
                  <c:v>10</c:v>
                </c:pt>
                <c:pt idx="168">
                  <c:v>8</c:v>
                </c:pt>
                <c:pt idx="169">
                  <c:v>11</c:v>
                </c:pt>
                <c:pt idx="170">
                  <c:v>12</c:v>
                </c:pt>
                <c:pt idx="171">
                  <c:v>10</c:v>
                </c:pt>
                <c:pt idx="172">
                  <c:v>7</c:v>
                </c:pt>
                <c:pt idx="173">
                  <c:v>10</c:v>
                </c:pt>
                <c:pt idx="174">
                  <c:v>14</c:v>
                </c:pt>
                <c:pt idx="175">
                  <c:v>13</c:v>
                </c:pt>
                <c:pt idx="176">
                  <c:v>20</c:v>
                </c:pt>
                <c:pt idx="177">
                  <c:v>20</c:v>
                </c:pt>
                <c:pt idx="178">
                  <c:v>16</c:v>
                </c:pt>
                <c:pt idx="179">
                  <c:v>22</c:v>
                </c:pt>
                <c:pt idx="180">
                  <c:v>26</c:v>
                </c:pt>
                <c:pt idx="181">
                  <c:v>26</c:v>
                </c:pt>
                <c:pt idx="182">
                  <c:v>23</c:v>
                </c:pt>
                <c:pt idx="183">
                  <c:v>31</c:v>
                </c:pt>
                <c:pt idx="184">
                  <c:v>31</c:v>
                </c:pt>
                <c:pt idx="185">
                  <c:v>35</c:v>
                </c:pt>
                <c:pt idx="186">
                  <c:v>45</c:v>
                </c:pt>
                <c:pt idx="187">
                  <c:v>45</c:v>
                </c:pt>
                <c:pt idx="188">
                  <c:v>57</c:v>
                </c:pt>
                <c:pt idx="189">
                  <c:v>50</c:v>
                </c:pt>
                <c:pt idx="190">
                  <c:v>39</c:v>
                </c:pt>
                <c:pt idx="191">
                  <c:v>48</c:v>
                </c:pt>
                <c:pt idx="192">
                  <c:v>62</c:v>
                </c:pt>
                <c:pt idx="193">
                  <c:v>75</c:v>
                </c:pt>
                <c:pt idx="194">
                  <c:v>71</c:v>
                </c:pt>
                <c:pt idx="195">
                  <c:v>68</c:v>
                </c:pt>
                <c:pt idx="196">
                  <c:v>74</c:v>
                </c:pt>
                <c:pt idx="197">
                  <c:v>62</c:v>
                </c:pt>
                <c:pt idx="198">
                  <c:v>92</c:v>
                </c:pt>
                <c:pt idx="199">
                  <c:v>69</c:v>
                </c:pt>
                <c:pt idx="200">
                  <c:v>82</c:v>
                </c:pt>
                <c:pt idx="201">
                  <c:v>120</c:v>
                </c:pt>
                <c:pt idx="202">
                  <c:v>110</c:v>
                </c:pt>
                <c:pt idx="203">
                  <c:v>94</c:v>
                </c:pt>
                <c:pt idx="204">
                  <c:v>111</c:v>
                </c:pt>
                <c:pt idx="205">
                  <c:v>109</c:v>
                </c:pt>
                <c:pt idx="206">
                  <c:v>114</c:v>
                </c:pt>
                <c:pt idx="207">
                  <c:v>93</c:v>
                </c:pt>
                <c:pt idx="208">
                  <c:v>111</c:v>
                </c:pt>
                <c:pt idx="209">
                  <c:v>117</c:v>
                </c:pt>
                <c:pt idx="210">
                  <c:v>94</c:v>
                </c:pt>
                <c:pt idx="211">
                  <c:v>118</c:v>
                </c:pt>
                <c:pt idx="212">
                  <c:v>104</c:v>
                </c:pt>
                <c:pt idx="213">
                  <c:v>118</c:v>
                </c:pt>
                <c:pt idx="214">
                  <c:v>136</c:v>
                </c:pt>
                <c:pt idx="215">
                  <c:v>112</c:v>
                </c:pt>
                <c:pt idx="216">
                  <c:v>88</c:v>
                </c:pt>
                <c:pt idx="217">
                  <c:v>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E4-4310-8D88-35AA5185297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07093791"/>
        <c:axId val="209778303"/>
      </c:barChart>
      <c:lineChart>
        <c:grouping val="standard"/>
        <c:varyColors val="0"/>
        <c:ser>
          <c:idx val="0"/>
          <c:order val="0"/>
          <c:tx>
            <c:strRef>
              <c:f>Sheet1!$E$1</c:f>
              <c:strCache>
                <c:ptCount val="1"/>
                <c:pt idx="0">
                  <c:v>B</c:v>
                </c:pt>
              </c:strCache>
            </c:strRef>
          </c:tx>
          <c:spPr>
            <a:ln w="28575" cap="rnd">
              <a:solidFill>
                <a:srgbClr val="C00000"/>
              </a:solidFill>
              <a:prstDash val="sysDot"/>
              <a:round/>
            </a:ln>
            <a:effectLst/>
          </c:spPr>
          <c:marker>
            <c:symbol val="none"/>
          </c:marker>
          <c:val>
            <c:numRef>
              <c:f>Sheet1!$E$2:$E$250</c:f>
              <c:numCache>
                <c:formatCode>General</c:formatCode>
                <c:ptCount val="249"/>
                <c:pt idx="0">
                  <c:v>33.617366669481427</c:v>
                </c:pt>
                <c:pt idx="1">
                  <c:v>33.130942717957396</c:v>
                </c:pt>
                <c:pt idx="2">
                  <c:v>32.750160906925011</c:v>
                </c:pt>
                <c:pt idx="3">
                  <c:v>31.869162251916382</c:v>
                </c:pt>
                <c:pt idx="4">
                  <c:v>30.110528667913286</c:v>
                </c:pt>
                <c:pt idx="5">
                  <c:v>28.28632679587799</c:v>
                </c:pt>
                <c:pt idx="6">
                  <c:v>26.887635546361128</c:v>
                </c:pt>
                <c:pt idx="7">
                  <c:v>25.105872213281778</c:v>
                </c:pt>
                <c:pt idx="8">
                  <c:v>24.498467758346305</c:v>
                </c:pt>
                <c:pt idx="9">
                  <c:v>23.988008790130596</c:v>
                </c:pt>
                <c:pt idx="10">
                  <c:v>23.156535386473667</c:v>
                </c:pt>
                <c:pt idx="11">
                  <c:v>21.522344563561241</c:v>
                </c:pt>
                <c:pt idx="12">
                  <c:v>21.044322786337684</c:v>
                </c:pt>
                <c:pt idx="13">
                  <c:v>19.162760140648356</c:v>
                </c:pt>
                <c:pt idx="14">
                  <c:v>18.469851949213858</c:v>
                </c:pt>
                <c:pt idx="15">
                  <c:v>18.020065253849534</c:v>
                </c:pt>
                <c:pt idx="16">
                  <c:v>17.514218036843864</c:v>
                </c:pt>
                <c:pt idx="17">
                  <c:v>16.3233863455843</c:v>
                </c:pt>
                <c:pt idx="18">
                  <c:v>15.562820563013112</c:v>
                </c:pt>
                <c:pt idx="19">
                  <c:v>14.764116091094333</c:v>
                </c:pt>
                <c:pt idx="20">
                  <c:v>14.003440805165601</c:v>
                </c:pt>
                <c:pt idx="21">
                  <c:v>13.499889763916819</c:v>
                </c:pt>
                <c:pt idx="22">
                  <c:v>12.830963170815313</c:v>
                </c:pt>
                <c:pt idx="23">
                  <c:v>12.21462611212981</c:v>
                </c:pt>
                <c:pt idx="24">
                  <c:v>11.361974932125564</c:v>
                </c:pt>
                <c:pt idx="25">
                  <c:v>10.914612956962413</c:v>
                </c:pt>
                <c:pt idx="26">
                  <c:v>10.619105639208403</c:v>
                </c:pt>
                <c:pt idx="27">
                  <c:v>9.9954301844491411</c:v>
                </c:pt>
                <c:pt idx="28">
                  <c:v>9.4375618853217507</c:v>
                </c:pt>
                <c:pt idx="29">
                  <c:v>8.9847891503381945</c:v>
                </c:pt>
                <c:pt idx="30">
                  <c:v>8.3157722843920805</c:v>
                </c:pt>
                <c:pt idx="31">
                  <c:v>7.8632927234998657</c:v>
                </c:pt>
                <c:pt idx="32">
                  <c:v>7.4232146380040183</c:v>
                </c:pt>
                <c:pt idx="33">
                  <c:v>6.9972346324679604</c:v>
                </c:pt>
                <c:pt idx="34">
                  <c:v>6.5920968312114345</c:v>
                </c:pt>
                <c:pt idx="35">
                  <c:v>6.2000207796108437</c:v>
                </c:pt>
                <c:pt idx="36">
                  <c:v>5.8280821617711913</c:v>
                </c:pt>
                <c:pt idx="37">
                  <c:v>5.4790277825955487</c:v>
                </c:pt>
                <c:pt idx="38">
                  <c:v>5.1480111672345865</c:v>
                </c:pt>
                <c:pt idx="39">
                  <c:v>4.8338223532528168</c:v>
                </c:pt>
                <c:pt idx="40">
                  <c:v>4.5382430397320768</c:v>
                </c:pt>
                <c:pt idx="41">
                  <c:v>4.2625426888947855</c:v>
                </c:pt>
                <c:pt idx="42">
                  <c:v>4.0028272450322975</c:v>
                </c:pt>
                <c:pt idx="43">
                  <c:v>3.7586395372490422</c:v>
                </c:pt>
                <c:pt idx="44">
                  <c:v>3.5316637360880265</c:v>
                </c:pt>
                <c:pt idx="45">
                  <c:v>3.3212972029769636</c:v>
                </c:pt>
                <c:pt idx="46">
                  <c:v>3.124041680134432</c:v>
                </c:pt>
                <c:pt idx="47">
                  <c:v>2.9409153057144759</c:v>
                </c:pt>
                <c:pt idx="48">
                  <c:v>2.7702600163610196</c:v>
                </c:pt>
                <c:pt idx="49">
                  <c:v>2.6090454581436013</c:v>
                </c:pt>
                <c:pt idx="50">
                  <c:v>2.4579046921065677</c:v>
                </c:pt>
                <c:pt idx="51">
                  <c:v>2.3168807352636209</c:v>
                </c:pt>
                <c:pt idx="52">
                  <c:v>2.1858190849730508</c:v>
                </c:pt>
                <c:pt idx="53">
                  <c:v>2.0637794299067842</c:v>
                </c:pt>
                <c:pt idx="54">
                  <c:v>1.9493846160683539</c:v>
                </c:pt>
                <c:pt idx="55">
                  <c:v>1.8422101557157153</c:v>
                </c:pt>
                <c:pt idx="56">
                  <c:v>1.7417252510373884</c:v>
                </c:pt>
                <c:pt idx="57">
                  <c:v>1.6475719025221063</c:v>
                </c:pt>
                <c:pt idx="58">
                  <c:v>1.5602861675465847</c:v>
                </c:pt>
                <c:pt idx="59">
                  <c:v>1.4807659262417938</c:v>
                </c:pt>
                <c:pt idx="60">
                  <c:v>1.409176958976897</c:v>
                </c:pt>
                <c:pt idx="61">
                  <c:v>1.3446365699539624</c:v>
                </c:pt>
                <c:pt idx="62">
                  <c:v>1.2866873723874721</c:v>
                </c:pt>
                <c:pt idx="63">
                  <c:v>1.2357737670752635</c:v>
                </c:pt>
                <c:pt idx="64">
                  <c:v>1.1922075604713915</c:v>
                </c:pt>
                <c:pt idx="65">
                  <c:v>1.1561388675781004</c:v>
                </c:pt>
                <c:pt idx="66">
                  <c:v>1.1272450980178463</c:v>
                </c:pt>
                <c:pt idx="67">
                  <c:v>1.1049420105967438</c:v>
                </c:pt>
                <c:pt idx="68">
                  <c:v>1.0881291943866962</c:v>
                </c:pt>
                <c:pt idx="69">
                  <c:v>1.0762135832128257</c:v>
                </c:pt>
                <c:pt idx="70">
                  <c:v>1.0692730860062032</c:v>
                </c:pt>
                <c:pt idx="71">
                  <c:v>1.0670181539272892</c:v>
                </c:pt>
                <c:pt idx="72">
                  <c:v>1.0690089367132705</c:v>
                </c:pt>
                <c:pt idx="73">
                  <c:v>1.0746626603107328</c:v>
                </c:pt>
                <c:pt idx="74">
                  <c:v>1.0832705638029891</c:v>
                </c:pt>
                <c:pt idx="75">
                  <c:v>1.0939493893709653</c:v>
                </c:pt>
                <c:pt idx="76">
                  <c:v>1.1059945531278768</c:v>
                </c:pt>
                <c:pt idx="77">
                  <c:v>1.1188839188049053</c:v>
                </c:pt>
                <c:pt idx="78">
                  <c:v>1.132672738749511</c:v>
                </c:pt>
                <c:pt idx="79">
                  <c:v>1.1468732367478631</c:v>
                </c:pt>
                <c:pt idx="80">
                  <c:v>1.1607860651440953</c:v>
                </c:pt>
                <c:pt idx="81">
                  <c:v>1.1740977302080102</c:v>
                </c:pt>
                <c:pt idx="82">
                  <c:v>1.186546570757371</c:v>
                </c:pt>
                <c:pt idx="83">
                  <c:v>1.1980438256546682</c:v>
                </c:pt>
                <c:pt idx="84">
                  <c:v>1.208339474083052</c:v>
                </c:pt>
                <c:pt idx="85">
                  <c:v>1.2172243504908191</c:v>
                </c:pt>
                <c:pt idx="86">
                  <c:v>1.2244881154567258</c:v>
                </c:pt>
                <c:pt idx="87">
                  <c:v>1.2299414635981298</c:v>
                </c:pt>
                <c:pt idx="88">
                  <c:v>1.2334728581975913</c:v>
                </c:pt>
                <c:pt idx="89">
                  <c:v>1.2355511516495368</c:v>
                </c:pt>
                <c:pt idx="90">
                  <c:v>1.2362593662119101</c:v>
                </c:pt>
                <c:pt idx="91">
                  <c:v>1.2354874150777404</c:v>
                </c:pt>
                <c:pt idx="92">
                  <c:v>1.2332187531574581</c:v>
                </c:pt>
                <c:pt idx="93">
                  <c:v>1.2294949875032009</c:v>
                </c:pt>
                <c:pt idx="94">
                  <c:v>1.2243660773345482</c:v>
                </c:pt>
                <c:pt idx="95">
                  <c:v>1.2178753962041666</c:v>
                </c:pt>
                <c:pt idx="96">
                  <c:v>1.2100570732512466</c:v>
                </c:pt>
                <c:pt idx="97">
                  <c:v>1.2010053201222612</c:v>
                </c:pt>
                <c:pt idx="98">
                  <c:v>1.1908330163528968</c:v>
                </c:pt>
                <c:pt idx="99">
                  <c:v>1.1796582249111809</c:v>
                </c:pt>
                <c:pt idx="100">
                  <c:v>1.1683419800470345</c:v>
                </c:pt>
                <c:pt idx="101">
                  <c:v>1.1581314019527063</c:v>
                </c:pt>
                <c:pt idx="102">
                  <c:v>1.1490990272192334</c:v>
                </c:pt>
                <c:pt idx="103">
                  <c:v>1.1409345190705462</c:v>
                </c:pt>
                <c:pt idx="104">
                  <c:v>1.1339970769917394</c:v>
                </c:pt>
                <c:pt idx="105">
                  <c:v>1.1289107700844776</c:v>
                </c:pt>
                <c:pt idx="106">
                  <c:v>1.1260358376232853</c:v>
                </c:pt>
                <c:pt idx="107">
                  <c:v>1.1256918861089908</c:v>
                </c:pt>
                <c:pt idx="108">
                  <c:v>1.1278812382384211</c:v>
                </c:pt>
                <c:pt idx="109">
                  <c:v>1.1326176829306804</c:v>
                </c:pt>
                <c:pt idx="110">
                  <c:v>1.1393293538344158</c:v>
                </c:pt>
                <c:pt idx="111">
                  <c:v>1.1476594881342335</c:v>
                </c:pt>
                <c:pt idx="112">
                  <c:v>1.1577671350143253</c:v>
                </c:pt>
                <c:pt idx="113">
                  <c:v>1.1696267961607769</c:v>
                </c:pt>
                <c:pt idx="114">
                  <c:v>1.1833524217645484</c:v>
                </c:pt>
                <c:pt idx="115">
                  <c:v>1.1985784281118483</c:v>
                </c:pt>
                <c:pt idx="116">
                  <c:v>1.2148290557961587</c:v>
                </c:pt>
                <c:pt idx="117">
                  <c:v>1.2317597570377419</c:v>
                </c:pt>
                <c:pt idx="118">
                  <c:v>1.2490826795786583</c:v>
                </c:pt>
                <c:pt idx="119">
                  <c:v>1.2666253599980182</c:v>
                </c:pt>
                <c:pt idx="120">
                  <c:v>1.2846163359533105</c:v>
                </c:pt>
                <c:pt idx="121">
                  <c:v>1.3027918737476378</c:v>
                </c:pt>
                <c:pt idx="122">
                  <c:v>1.3209280716284526</c:v>
                </c:pt>
                <c:pt idx="123">
                  <c:v>1.3388791198410086</c:v>
                </c:pt>
                <c:pt idx="124">
                  <c:v>1.3565384335630006</c:v>
                </c:pt>
                <c:pt idx="125">
                  <c:v>1.3738364540824692</c:v>
                </c:pt>
                <c:pt idx="126">
                  <c:v>1.3907329580209231</c:v>
                </c:pt>
                <c:pt idx="127">
                  <c:v>1.4072860299469783</c:v>
                </c:pt>
                <c:pt idx="128">
                  <c:v>1.4234478870076273</c:v>
                </c:pt>
                <c:pt idx="129">
                  <c:v>1.4391585446875184</c:v>
                </c:pt>
                <c:pt idx="130">
                  <c:v>1.4543698087393293</c:v>
                </c:pt>
                <c:pt idx="131">
                  <c:v>1.4695003577264547</c:v>
                </c:pt>
                <c:pt idx="132">
                  <c:v>1.4848940955096526</c:v>
                </c:pt>
                <c:pt idx="133">
                  <c:v>1.5006426310529708</c:v>
                </c:pt>
                <c:pt idx="134">
                  <c:v>1.5168221241578292</c:v>
                </c:pt>
                <c:pt idx="135">
                  <c:v>1.5339861656554867</c:v>
                </c:pt>
                <c:pt idx="136">
                  <c:v>1.5525500408176196</c:v>
                </c:pt>
                <c:pt idx="137">
                  <c:v>1.5730102145387113</c:v>
                </c:pt>
                <c:pt idx="138">
                  <c:v>1.5960326077037459</c:v>
                </c:pt>
                <c:pt idx="139">
                  <c:v>1.6220491715441718</c:v>
                </c:pt>
                <c:pt idx="140">
                  <c:v>1.6515869419036828</c:v>
                </c:pt>
                <c:pt idx="141">
                  <c:v>1.6850577536958744</c:v>
                </c:pt>
                <c:pt idx="142">
                  <c:v>1.7229641561363098</c:v>
                </c:pt>
                <c:pt idx="143">
                  <c:v>1.7659025162015434</c:v>
                </c:pt>
                <c:pt idx="144">
                  <c:v>1.8143404153903988</c:v>
                </c:pt>
                <c:pt idx="145">
                  <c:v>1.8687732636628576</c:v>
                </c:pt>
                <c:pt idx="146">
                  <c:v>1.9295610072459646</c:v>
                </c:pt>
                <c:pt idx="147">
                  <c:v>1.9970473423473201</c:v>
                </c:pt>
                <c:pt idx="148">
                  <c:v>2.0718323199324935</c:v>
                </c:pt>
                <c:pt idx="149">
                  <c:v>2.1542979705679199</c:v>
                </c:pt>
                <c:pt idx="150">
                  <c:v>2.2447715905602994</c:v>
                </c:pt>
                <c:pt idx="151">
                  <c:v>2.3435033541015735</c:v>
                </c:pt>
                <c:pt idx="152">
                  <c:v>2.4506008701078508</c:v>
                </c:pt>
                <c:pt idx="153">
                  <c:v>2.5662538518892819</c:v>
                </c:pt>
                <c:pt idx="154">
                  <c:v>2.6907027350180388</c:v>
                </c:pt>
                <c:pt idx="155">
                  <c:v>2.8242050857233258</c:v>
                </c:pt>
                <c:pt idx="156">
                  <c:v>2.967036816276905</c:v>
                </c:pt>
                <c:pt idx="157">
                  <c:v>3.1194805916741197</c:v>
                </c:pt>
                <c:pt idx="158">
                  <c:v>3.281994167732214</c:v>
                </c:pt>
                <c:pt idx="159">
                  <c:v>3.4548560231088472</c:v>
                </c:pt>
                <c:pt idx="160">
                  <c:v>3.6383722705710406</c:v>
                </c:pt>
                <c:pt idx="161">
                  <c:v>3.8362116972660201</c:v>
                </c:pt>
                <c:pt idx="162">
                  <c:v>4.0760835909020283</c:v>
                </c:pt>
                <c:pt idx="163">
                  <c:v>4.384942322656328</c:v>
                </c:pt>
                <c:pt idx="164">
                  <c:v>4.7255057988983147</c:v>
                </c:pt>
                <c:pt idx="165">
                  <c:v>5.1029276706985449</c:v>
                </c:pt>
                <c:pt idx="166">
                  <c:v>5.5241106320997817</c:v>
                </c:pt>
                <c:pt idx="167">
                  <c:v>5.9954421102110231</c:v>
                </c:pt>
                <c:pt idx="168">
                  <c:v>6.5240747015647225</c:v>
                </c:pt>
                <c:pt idx="169">
                  <c:v>7.115982218158079</c:v>
                </c:pt>
                <c:pt idx="170">
                  <c:v>7.7781088135724623</c:v>
                </c:pt>
                <c:pt idx="171">
                  <c:v>8.5145185237183494</c:v>
                </c:pt>
                <c:pt idx="172">
                  <c:v>9.3308646712510797</c:v>
                </c:pt>
                <c:pt idx="173">
                  <c:v>10.700009277083206</c:v>
                </c:pt>
                <c:pt idx="174">
                  <c:v>11.497171363542522</c:v>
                </c:pt>
                <c:pt idx="175">
                  <c:v>13.232637347658986</c:v>
                </c:pt>
                <c:pt idx="176">
                  <c:v>14.809781005903092</c:v>
                </c:pt>
                <c:pt idx="177">
                  <c:v>16.221674150528987</c:v>
                </c:pt>
                <c:pt idx="178">
                  <c:v>17.648890538754973</c:v>
                </c:pt>
                <c:pt idx="179">
                  <c:v>19.40047654605387</c:v>
                </c:pt>
                <c:pt idx="180">
                  <c:v>20.691975084960951</c:v>
                </c:pt>
                <c:pt idx="181">
                  <c:v>22.016393565156623</c:v>
                </c:pt>
                <c:pt idx="182">
                  <c:v>24.453447558490289</c:v>
                </c:pt>
                <c:pt idx="183">
                  <c:v>27.076178382548409</c:v>
                </c:pt>
                <c:pt idx="184">
                  <c:v>29.828768079924021</c:v>
                </c:pt>
                <c:pt idx="185">
                  <c:v>32.449171059956299</c:v>
                </c:pt>
                <c:pt idx="186">
                  <c:v>34.98116808291585</c:v>
                </c:pt>
                <c:pt idx="187">
                  <c:v>37.973473724422213</c:v>
                </c:pt>
                <c:pt idx="188">
                  <c:v>40.771370247989111</c:v>
                </c:pt>
                <c:pt idx="189">
                  <c:v>43.951421847532686</c:v>
                </c:pt>
                <c:pt idx="190">
                  <c:v>47.90857224647506</c:v>
                </c:pt>
                <c:pt idx="191">
                  <c:v>51.220278513191943</c:v>
                </c:pt>
                <c:pt idx="192">
                  <c:v>54.300119492906802</c:v>
                </c:pt>
                <c:pt idx="193">
                  <c:v>57.665069913002554</c:v>
                </c:pt>
                <c:pt idx="194">
                  <c:v>61.230319443443875</c:v>
                </c:pt>
                <c:pt idx="195">
                  <c:v>64.648588247987291</c:v>
                </c:pt>
                <c:pt idx="196">
                  <c:v>65.619335260580527</c:v>
                </c:pt>
                <c:pt idx="197">
                  <c:v>68.440270702858413</c:v>
                </c:pt>
                <c:pt idx="198">
                  <c:v>71.958749279701095</c:v>
                </c:pt>
                <c:pt idx="199">
                  <c:v>73.318634561311868</c:v>
                </c:pt>
                <c:pt idx="200">
                  <c:v>76.422414753537979</c:v>
                </c:pt>
                <c:pt idx="201">
                  <c:v>78.342787471714303</c:v>
                </c:pt>
                <c:pt idx="202">
                  <c:v>79.754692011742932</c:v>
                </c:pt>
                <c:pt idx="203">
                  <c:v>81.690287753216651</c:v>
                </c:pt>
                <c:pt idx="204">
                  <c:v>84.162122462795026</c:v>
                </c:pt>
                <c:pt idx="205">
                  <c:v>87.094765613905864</c:v>
                </c:pt>
                <c:pt idx="206">
                  <c:v>89.327983399957574</c:v>
                </c:pt>
                <c:pt idx="207">
                  <c:v>93.080094079409676</c:v>
                </c:pt>
                <c:pt idx="208">
                  <c:v>95.862501016447894</c:v>
                </c:pt>
                <c:pt idx="209">
                  <c:v>97.471202458340429</c:v>
                </c:pt>
                <c:pt idx="210">
                  <c:v>100.99060810356492</c:v>
                </c:pt>
                <c:pt idx="211">
                  <c:v>104.24080066301619</c:v>
                </c:pt>
                <c:pt idx="212">
                  <c:v>107.38059540182375</c:v>
                </c:pt>
                <c:pt idx="213">
                  <c:v>110.29084808292379</c:v>
                </c:pt>
                <c:pt idx="214">
                  <c:v>113.66901935173154</c:v>
                </c:pt>
                <c:pt idx="215">
                  <c:v>117.02518830775672</c:v>
                </c:pt>
                <c:pt idx="216">
                  <c:v>119.89943630359885</c:v>
                </c:pt>
                <c:pt idx="217">
                  <c:v>123.33954603001733</c:v>
                </c:pt>
                <c:pt idx="218">
                  <c:v>126.42909176063344</c:v>
                </c:pt>
                <c:pt idx="219">
                  <c:v>129.39123818575592</c:v>
                </c:pt>
                <c:pt idx="220">
                  <c:v>132.50817087240537</c:v>
                </c:pt>
                <c:pt idx="221">
                  <c:v>135.47476878203813</c:v>
                </c:pt>
                <c:pt idx="222">
                  <c:v>138.43144377340096</c:v>
                </c:pt>
                <c:pt idx="223">
                  <c:v>141.29231123211156</c:v>
                </c:pt>
                <c:pt idx="224">
                  <c:v>144.04370768930377</c:v>
                </c:pt>
                <c:pt idx="225">
                  <c:v>146.66348399585124</c:v>
                </c:pt>
                <c:pt idx="226">
                  <c:v>149.1524610264967</c:v>
                </c:pt>
                <c:pt idx="227">
                  <c:v>151.50082146734107</c:v>
                </c:pt>
                <c:pt idx="228">
                  <c:v>153.68748928883807</c:v>
                </c:pt>
                <c:pt idx="229">
                  <c:v>155.70668230327226</c:v>
                </c:pt>
                <c:pt idx="230">
                  <c:v>157.5495058997754</c:v>
                </c:pt>
                <c:pt idx="231">
                  <c:v>159.20707505981056</c:v>
                </c:pt>
                <c:pt idx="232">
                  <c:v>160.66464023440992</c:v>
                </c:pt>
                <c:pt idx="233">
                  <c:v>161.92691213212444</c:v>
                </c:pt>
                <c:pt idx="234">
                  <c:v>162.98127834727845</c:v>
                </c:pt>
                <c:pt idx="235">
                  <c:v>163.81895180340678</c:v>
                </c:pt>
                <c:pt idx="236">
                  <c:v>164.44954595480891</c:v>
                </c:pt>
                <c:pt idx="237">
                  <c:v>164.85653515127959</c:v>
                </c:pt>
                <c:pt idx="238">
                  <c:v>165.04103493814404</c:v>
                </c:pt>
                <c:pt idx="239">
                  <c:v>165.00794265101251</c:v>
                </c:pt>
                <c:pt idx="240">
                  <c:v>164.75535453317457</c:v>
                </c:pt>
                <c:pt idx="241">
                  <c:v>164.28462204337342</c:v>
                </c:pt>
                <c:pt idx="242">
                  <c:v>163.59666325995738</c:v>
                </c:pt>
                <c:pt idx="243">
                  <c:v>162.70109010827719</c:v>
                </c:pt>
                <c:pt idx="244">
                  <c:v>161.59742859063795</c:v>
                </c:pt>
                <c:pt idx="245">
                  <c:v>160.29309307999276</c:v>
                </c:pt>
                <c:pt idx="246">
                  <c:v>158.79666567802357</c:v>
                </c:pt>
                <c:pt idx="247">
                  <c:v>157.11264937050902</c:v>
                </c:pt>
                <c:pt idx="248">
                  <c:v>155.2509323559629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6E4-4310-8D88-35AA51852975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V2</c:v>
                </c:pt>
              </c:strCache>
            </c:strRef>
          </c:tx>
          <c:spPr>
            <a:ln w="28575" cap="rnd">
              <a:solidFill>
                <a:srgbClr val="FF99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A$2:$A$250</c:f>
              <c:numCache>
                <c:formatCode>m/d/yyyy</c:formatCode>
                <c:ptCount val="24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  <c:pt idx="219">
                  <c:v>44536</c:v>
                </c:pt>
                <c:pt idx="220">
                  <c:v>44537</c:v>
                </c:pt>
                <c:pt idx="221">
                  <c:v>44538</c:v>
                </c:pt>
                <c:pt idx="222">
                  <c:v>44539</c:v>
                </c:pt>
                <c:pt idx="223">
                  <c:v>44540</c:v>
                </c:pt>
                <c:pt idx="224">
                  <c:v>44541</c:v>
                </c:pt>
                <c:pt idx="225">
                  <c:v>44542</c:v>
                </c:pt>
                <c:pt idx="226">
                  <c:v>44543</c:v>
                </c:pt>
                <c:pt idx="227">
                  <c:v>44544</c:v>
                </c:pt>
                <c:pt idx="228">
                  <c:v>44545</c:v>
                </c:pt>
                <c:pt idx="229">
                  <c:v>44546</c:v>
                </c:pt>
                <c:pt idx="230">
                  <c:v>44547</c:v>
                </c:pt>
                <c:pt idx="231">
                  <c:v>44548</c:v>
                </c:pt>
                <c:pt idx="232">
                  <c:v>44549</c:v>
                </c:pt>
                <c:pt idx="233">
                  <c:v>44550</c:v>
                </c:pt>
                <c:pt idx="234">
                  <c:v>44551</c:v>
                </c:pt>
                <c:pt idx="235">
                  <c:v>44552</c:v>
                </c:pt>
                <c:pt idx="236">
                  <c:v>44553</c:v>
                </c:pt>
                <c:pt idx="237">
                  <c:v>44554</c:v>
                </c:pt>
                <c:pt idx="238">
                  <c:v>44555</c:v>
                </c:pt>
                <c:pt idx="239">
                  <c:v>44556</c:v>
                </c:pt>
                <c:pt idx="240">
                  <c:v>44557</c:v>
                </c:pt>
                <c:pt idx="241">
                  <c:v>44558</c:v>
                </c:pt>
                <c:pt idx="242">
                  <c:v>44559</c:v>
                </c:pt>
                <c:pt idx="243">
                  <c:v>44560</c:v>
                </c:pt>
                <c:pt idx="244">
                  <c:v>44561</c:v>
                </c:pt>
                <c:pt idx="245">
                  <c:v>44562</c:v>
                </c:pt>
                <c:pt idx="246">
                  <c:v>44563</c:v>
                </c:pt>
                <c:pt idx="247">
                  <c:v>44564</c:v>
                </c:pt>
                <c:pt idx="248">
                  <c:v>44565</c:v>
                </c:pt>
              </c:numCache>
            </c:numRef>
          </c:cat>
          <c:val>
            <c:numRef>
              <c:f>Sheet1!$C$2:$C$250</c:f>
              <c:numCache>
                <c:formatCode>General</c:formatCode>
                <c:ptCount val="249"/>
                <c:pt idx="195">
                  <c:v>64.523724714654563</c:v>
                </c:pt>
                <c:pt idx="196">
                  <c:v>65.24143728148114</c:v>
                </c:pt>
                <c:pt idx="197">
                  <c:v>67.705106318516883</c:v>
                </c:pt>
                <c:pt idx="198">
                  <c:v>70.770587690836564</c:v>
                </c:pt>
                <c:pt idx="199">
                  <c:v>71.579165436435034</c:v>
                </c:pt>
                <c:pt idx="200">
                  <c:v>74.016828761072887</c:v>
                </c:pt>
                <c:pt idx="201">
                  <c:v>75.136036758279303</c:v>
                </c:pt>
                <c:pt idx="202">
                  <c:v>75.574316679087417</c:v>
                </c:pt>
                <c:pt idx="203">
                  <c:v>76.460725932015094</c:v>
                </c:pt>
                <c:pt idx="204">
                  <c:v>77.726081576507582</c:v>
                </c:pt>
                <c:pt idx="205">
                  <c:v>79.357877958099238</c:v>
                </c:pt>
                <c:pt idx="206">
                  <c:v>80.149596550939023</c:v>
                </c:pt>
                <c:pt idx="207">
                  <c:v>82.375770670565444</c:v>
                </c:pt>
                <c:pt idx="208">
                  <c:v>83.496086447089141</c:v>
                </c:pt>
                <c:pt idx="209">
                  <c:v>84.1613202342552</c:v>
                </c:pt>
                <c:pt idx="210">
                  <c:v>84.940727032652191</c:v>
                </c:pt>
                <c:pt idx="211">
                  <c:v>86.185852221797518</c:v>
                </c:pt>
                <c:pt idx="212">
                  <c:v>87.247176349736321</c:v>
                </c:pt>
                <c:pt idx="213">
                  <c:v>88.035992306846182</c:v>
                </c:pt>
                <c:pt idx="214">
                  <c:v>89.172311695695399</c:v>
                </c:pt>
                <c:pt idx="215">
                  <c:v>90.216913679022909</c:v>
                </c:pt>
                <c:pt idx="216">
                  <c:v>90.72278303307354</c:v>
                </c:pt>
                <c:pt idx="217">
                  <c:v>91.777280628700368</c:v>
                </c:pt>
                <c:pt idx="218">
                  <c:v>92.418347965236052</c:v>
                </c:pt>
                <c:pt idx="219">
                  <c:v>92.914569567298443</c:v>
                </c:pt>
                <c:pt idx="220">
                  <c:v>93.565485726455279</c:v>
                </c:pt>
                <c:pt idx="221">
                  <c:v>94.048667151660922</c:v>
                </c:pt>
                <c:pt idx="222">
                  <c:v>94.544935183610761</c:v>
                </c:pt>
                <c:pt idx="223">
                  <c:v>94.968630657157931</c:v>
                </c:pt>
                <c:pt idx="224">
                  <c:v>95.317863737207404</c:v>
                </c:pt>
                <c:pt idx="225">
                  <c:v>95.5820364653231</c:v>
                </c:pt>
                <c:pt idx="226">
                  <c:v>95.773350160422851</c:v>
                </c:pt>
                <c:pt idx="227">
                  <c:v>95.89312862737971</c:v>
                </c:pt>
                <c:pt idx="228">
                  <c:v>95.93100086751501</c:v>
                </c:pt>
                <c:pt idx="229">
                  <c:v>95.891581322553535</c:v>
                </c:pt>
                <c:pt idx="230">
                  <c:v>95.77585588586355</c:v>
                </c:pt>
                <c:pt idx="231">
                  <c:v>95.584189746052999</c:v>
                </c:pt>
                <c:pt idx="232">
                  <c:v>95.310285519781445</c:v>
                </c:pt>
                <c:pt idx="233">
                  <c:v>94.966625297298933</c:v>
                </c:pt>
                <c:pt idx="234">
                  <c:v>94.547590066488596</c:v>
                </c:pt>
                <c:pt idx="235">
                  <c:v>94.050535531497559</c:v>
                </c:pt>
                <c:pt idx="236">
                  <c:v>93.490470806265506</c:v>
                </c:pt>
                <c:pt idx="237">
                  <c:v>92.855267503757673</c:v>
                </c:pt>
                <c:pt idx="238">
                  <c:v>92.14944993747244</c:v>
                </c:pt>
                <c:pt idx="239">
                  <c:v>91.380396745272321</c:v>
                </c:pt>
                <c:pt idx="240">
                  <c:v>90.54771837258626</c:v>
                </c:pt>
                <c:pt idx="241">
                  <c:v>89.653338597229251</c:v>
                </c:pt>
                <c:pt idx="242">
                  <c:v>88.697784944831611</c:v>
                </c:pt>
                <c:pt idx="243">
                  <c:v>87.689452212470314</c:v>
                </c:pt>
                <c:pt idx="244">
                  <c:v>86.625725567185924</c:v>
                </c:pt>
                <c:pt idx="245">
                  <c:v>85.511023301568159</c:v>
                </c:pt>
                <c:pt idx="246">
                  <c:v>84.350165296549548</c:v>
                </c:pt>
                <c:pt idx="247">
                  <c:v>83.14314581253231</c:v>
                </c:pt>
                <c:pt idx="248">
                  <c:v>81.8946727714165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6E4-4310-8D88-35AA51852975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V3</c:v>
                </c:pt>
              </c:strCache>
            </c:strRef>
          </c:tx>
          <c:spPr>
            <a:ln w="28575" cap="rnd">
              <a:solidFill>
                <a:srgbClr val="4472C4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250</c:f>
              <c:numCache>
                <c:formatCode>m/d/yyyy</c:formatCode>
                <c:ptCount val="24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  <c:pt idx="219">
                  <c:v>44536</c:v>
                </c:pt>
                <c:pt idx="220">
                  <c:v>44537</c:v>
                </c:pt>
                <c:pt idx="221">
                  <c:v>44538</c:v>
                </c:pt>
                <c:pt idx="222">
                  <c:v>44539</c:v>
                </c:pt>
                <c:pt idx="223">
                  <c:v>44540</c:v>
                </c:pt>
                <c:pt idx="224">
                  <c:v>44541</c:v>
                </c:pt>
                <c:pt idx="225">
                  <c:v>44542</c:v>
                </c:pt>
                <c:pt idx="226">
                  <c:v>44543</c:v>
                </c:pt>
                <c:pt idx="227">
                  <c:v>44544</c:v>
                </c:pt>
                <c:pt idx="228">
                  <c:v>44545</c:v>
                </c:pt>
                <c:pt idx="229">
                  <c:v>44546</c:v>
                </c:pt>
                <c:pt idx="230">
                  <c:v>44547</c:v>
                </c:pt>
                <c:pt idx="231">
                  <c:v>44548</c:v>
                </c:pt>
                <c:pt idx="232">
                  <c:v>44549</c:v>
                </c:pt>
                <c:pt idx="233">
                  <c:v>44550</c:v>
                </c:pt>
                <c:pt idx="234">
                  <c:v>44551</c:v>
                </c:pt>
                <c:pt idx="235">
                  <c:v>44552</c:v>
                </c:pt>
                <c:pt idx="236">
                  <c:v>44553</c:v>
                </c:pt>
                <c:pt idx="237">
                  <c:v>44554</c:v>
                </c:pt>
                <c:pt idx="238">
                  <c:v>44555</c:v>
                </c:pt>
                <c:pt idx="239">
                  <c:v>44556</c:v>
                </c:pt>
                <c:pt idx="240">
                  <c:v>44557</c:v>
                </c:pt>
                <c:pt idx="241">
                  <c:v>44558</c:v>
                </c:pt>
                <c:pt idx="242">
                  <c:v>44559</c:v>
                </c:pt>
                <c:pt idx="243">
                  <c:v>44560</c:v>
                </c:pt>
                <c:pt idx="244">
                  <c:v>44561</c:v>
                </c:pt>
                <c:pt idx="245">
                  <c:v>44562</c:v>
                </c:pt>
                <c:pt idx="246">
                  <c:v>44563</c:v>
                </c:pt>
                <c:pt idx="247">
                  <c:v>44564</c:v>
                </c:pt>
                <c:pt idx="248">
                  <c:v>44565</c:v>
                </c:pt>
              </c:numCache>
            </c:numRef>
          </c:cat>
          <c:val>
            <c:numRef>
              <c:f>Sheet1!$D$2:$D$250</c:f>
              <c:numCache>
                <c:formatCode>General</c:formatCode>
                <c:ptCount val="249"/>
                <c:pt idx="195">
                  <c:v>64.585956644619955</c:v>
                </c:pt>
                <c:pt idx="196">
                  <c:v>65.429539007251833</c:v>
                </c:pt>
                <c:pt idx="197">
                  <c:v>68.0704326089011</c:v>
                </c:pt>
                <c:pt idx="198">
                  <c:v>71.35985509021107</c:v>
                </c:pt>
                <c:pt idx="199">
                  <c:v>72.439931089804674</c:v>
                </c:pt>
                <c:pt idx="200">
                  <c:v>75.204386877958996</c:v>
                </c:pt>
                <c:pt idx="201">
                  <c:v>76.715220829178861</c:v>
                </c:pt>
                <c:pt idx="202">
                  <c:v>77.627995655843989</c:v>
                </c:pt>
                <c:pt idx="203">
                  <c:v>79.022760397514517</c:v>
                </c:pt>
                <c:pt idx="204">
                  <c:v>80.870489271016368</c:v>
                </c:pt>
                <c:pt idx="205">
                  <c:v>83.12663289808421</c:v>
                </c:pt>
                <c:pt idx="206">
                  <c:v>84.607168649340892</c:v>
                </c:pt>
                <c:pt idx="207">
                  <c:v>87.558015493530092</c:v>
                </c:pt>
                <c:pt idx="208">
                  <c:v>89.464178691031364</c:v>
                </c:pt>
                <c:pt idx="209">
                  <c:v>90.12452161289842</c:v>
                </c:pt>
                <c:pt idx="210">
                  <c:v>92.637690753969764</c:v>
                </c:pt>
                <c:pt idx="211">
                  <c:v>94.816999794150306</c:v>
                </c:pt>
                <c:pt idx="212">
                  <c:v>96.840990098232965</c:v>
                </c:pt>
                <c:pt idx="213">
                  <c:v>98.605712777266959</c:v>
                </c:pt>
                <c:pt idx="214">
                  <c:v>100.76988952431996</c:v>
                </c:pt>
                <c:pt idx="215">
                  <c:v>102.86913653702138</c:v>
                </c:pt>
                <c:pt idx="216">
                  <c:v>104.45028013981177</c:v>
                </c:pt>
                <c:pt idx="217">
                  <c:v>106.58136387224037</c:v>
                </c:pt>
                <c:pt idx="218">
                  <c:v>108.32365591473815</c:v>
                </c:pt>
                <c:pt idx="219">
                  <c:v>109.92372673535628</c:v>
                </c:pt>
                <c:pt idx="220">
                  <c:v>111.67325335718159</c:v>
                </c:pt>
                <c:pt idx="221">
                  <c:v>113.25935513799506</c:v>
                </c:pt>
                <c:pt idx="222">
                  <c:v>114.84370496177341</c:v>
                </c:pt>
                <c:pt idx="223">
                  <c:v>116.3416584747937</c:v>
                </c:pt>
                <c:pt idx="224">
                  <c:v>117.74665517762161</c:v>
                </c:pt>
                <c:pt idx="225">
                  <c:v>119.04359746958441</c:v>
                </c:pt>
                <c:pt idx="226">
                  <c:v>120.24032163218068</c:v>
                </c:pt>
                <c:pt idx="227">
                  <c:v>121.33394166042834</c:v>
                </c:pt>
                <c:pt idx="228">
                  <c:v>122.31010903388218</c:v>
                </c:pt>
                <c:pt idx="229">
                  <c:v>123.1696153111002</c:v>
                </c:pt>
                <c:pt idx="230">
                  <c:v>123.90985859936748</c:v>
                </c:pt>
                <c:pt idx="231">
                  <c:v>124.52788900652874</c:v>
                </c:pt>
                <c:pt idx="232">
                  <c:v>125.01442916828347</c:v>
                </c:pt>
                <c:pt idx="233">
                  <c:v>125.37924643312977</c:v>
                </c:pt>
                <c:pt idx="234">
                  <c:v>125.61430591046735</c:v>
                </c:pt>
                <c:pt idx="235">
                  <c:v>125.71486681433747</c:v>
                </c:pt>
                <c:pt idx="236">
                  <c:v>125.69410147219567</c:v>
                </c:pt>
                <c:pt idx="237">
                  <c:v>125.53841296338568</c:v>
                </c:pt>
                <c:pt idx="238">
                  <c:v>125.25120842736524</c:v>
                </c:pt>
                <c:pt idx="239">
                  <c:v>124.83906826471579</c:v>
                </c:pt>
                <c:pt idx="240">
                  <c:v>124.30113971013253</c:v>
                </c:pt>
                <c:pt idx="241">
                  <c:v>123.63920302941857</c:v>
                </c:pt>
                <c:pt idx="242">
                  <c:v>122.85397056289008</c:v>
                </c:pt>
                <c:pt idx="243">
                  <c:v>121.95428916686437</c:v>
                </c:pt>
                <c:pt idx="244">
                  <c:v>120.93831160328689</c:v>
                </c:pt>
                <c:pt idx="245">
                  <c:v>119.81151106227738</c:v>
                </c:pt>
                <c:pt idx="246">
                  <c:v>118.58001550523342</c:v>
                </c:pt>
                <c:pt idx="247">
                  <c:v>117.24537952633068</c:v>
                </c:pt>
                <c:pt idx="248">
                  <c:v>115.8140967009436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6E4-4310-8D88-35AA51852975}"/>
            </c:ext>
          </c:extLst>
        </c:ser>
        <c:ser>
          <c:idx val="4"/>
          <c:order val="3"/>
          <c:tx>
            <c:strRef>
              <c:f>Sheet1!$F$1</c:f>
              <c:strCache>
                <c:ptCount val="1"/>
                <c:pt idx="0">
                  <c:v>C</c:v>
                </c:pt>
              </c:strCache>
            </c:strRef>
          </c:tx>
          <c:spPr>
            <a:ln w="28575" cap="rnd">
              <a:solidFill>
                <a:srgbClr val="FF9900"/>
              </a:solidFill>
              <a:round/>
            </a:ln>
            <a:effectLst/>
          </c:spPr>
          <c:marker>
            <c:symbol val="none"/>
          </c:marker>
          <c:cat>
            <c:numRef>
              <c:f>Sheet1!$A$2:$A$250</c:f>
              <c:numCache>
                <c:formatCode>m/d/yyyy</c:formatCode>
                <c:ptCount val="24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  <c:pt idx="79">
                  <c:v>44396</c:v>
                </c:pt>
                <c:pt idx="80">
                  <c:v>44397</c:v>
                </c:pt>
                <c:pt idx="81">
                  <c:v>44398</c:v>
                </c:pt>
                <c:pt idx="82">
                  <c:v>44399</c:v>
                </c:pt>
                <c:pt idx="83">
                  <c:v>44400</c:v>
                </c:pt>
                <c:pt idx="84">
                  <c:v>44401</c:v>
                </c:pt>
                <c:pt idx="85">
                  <c:v>44402</c:v>
                </c:pt>
                <c:pt idx="86">
                  <c:v>44403</c:v>
                </c:pt>
                <c:pt idx="87">
                  <c:v>44404</c:v>
                </c:pt>
                <c:pt idx="88">
                  <c:v>44405</c:v>
                </c:pt>
                <c:pt idx="89">
                  <c:v>44406</c:v>
                </c:pt>
                <c:pt idx="90">
                  <c:v>44407</c:v>
                </c:pt>
                <c:pt idx="91">
                  <c:v>44408</c:v>
                </c:pt>
                <c:pt idx="92">
                  <c:v>44409</c:v>
                </c:pt>
                <c:pt idx="93">
                  <c:v>44410</c:v>
                </c:pt>
                <c:pt idx="94">
                  <c:v>44411</c:v>
                </c:pt>
                <c:pt idx="95">
                  <c:v>44412</c:v>
                </c:pt>
                <c:pt idx="96">
                  <c:v>44413</c:v>
                </c:pt>
                <c:pt idx="97">
                  <c:v>44414</c:v>
                </c:pt>
                <c:pt idx="98">
                  <c:v>44415</c:v>
                </c:pt>
                <c:pt idx="99">
                  <c:v>44416</c:v>
                </c:pt>
                <c:pt idx="100">
                  <c:v>44417</c:v>
                </c:pt>
                <c:pt idx="101">
                  <c:v>44418</c:v>
                </c:pt>
                <c:pt idx="102">
                  <c:v>44419</c:v>
                </c:pt>
                <c:pt idx="103">
                  <c:v>44420</c:v>
                </c:pt>
                <c:pt idx="104">
                  <c:v>44421</c:v>
                </c:pt>
                <c:pt idx="105">
                  <c:v>44422</c:v>
                </c:pt>
                <c:pt idx="106">
                  <c:v>44423</c:v>
                </c:pt>
                <c:pt idx="107">
                  <c:v>44424</c:v>
                </c:pt>
                <c:pt idx="108">
                  <c:v>44425</c:v>
                </c:pt>
                <c:pt idx="109">
                  <c:v>44426</c:v>
                </c:pt>
                <c:pt idx="110">
                  <c:v>44427</c:v>
                </c:pt>
                <c:pt idx="111">
                  <c:v>44428</c:v>
                </c:pt>
                <c:pt idx="112">
                  <c:v>44429</c:v>
                </c:pt>
                <c:pt idx="113">
                  <c:v>44430</c:v>
                </c:pt>
                <c:pt idx="114">
                  <c:v>44431</c:v>
                </c:pt>
                <c:pt idx="115">
                  <c:v>44432</c:v>
                </c:pt>
                <c:pt idx="116">
                  <c:v>44433</c:v>
                </c:pt>
                <c:pt idx="117">
                  <c:v>44434</c:v>
                </c:pt>
                <c:pt idx="118">
                  <c:v>44435</c:v>
                </c:pt>
                <c:pt idx="119">
                  <c:v>44436</c:v>
                </c:pt>
                <c:pt idx="120">
                  <c:v>44437</c:v>
                </c:pt>
                <c:pt idx="121">
                  <c:v>44438</c:v>
                </c:pt>
                <c:pt idx="122">
                  <c:v>44439</c:v>
                </c:pt>
                <c:pt idx="123">
                  <c:v>44440</c:v>
                </c:pt>
                <c:pt idx="124">
                  <c:v>44441</c:v>
                </c:pt>
                <c:pt idx="125">
                  <c:v>44442</c:v>
                </c:pt>
                <c:pt idx="126">
                  <c:v>44443</c:v>
                </c:pt>
                <c:pt idx="127">
                  <c:v>44444</c:v>
                </c:pt>
                <c:pt idx="128">
                  <c:v>44445</c:v>
                </c:pt>
                <c:pt idx="129">
                  <c:v>44446</c:v>
                </c:pt>
                <c:pt idx="130">
                  <c:v>44447</c:v>
                </c:pt>
                <c:pt idx="131">
                  <c:v>44448</c:v>
                </c:pt>
                <c:pt idx="132">
                  <c:v>44449</c:v>
                </c:pt>
                <c:pt idx="133">
                  <c:v>44450</c:v>
                </c:pt>
                <c:pt idx="134">
                  <c:v>44451</c:v>
                </c:pt>
                <c:pt idx="135">
                  <c:v>44452</c:v>
                </c:pt>
                <c:pt idx="136">
                  <c:v>44453</c:v>
                </c:pt>
                <c:pt idx="137">
                  <c:v>44454</c:v>
                </c:pt>
                <c:pt idx="138">
                  <c:v>44455</c:v>
                </c:pt>
                <c:pt idx="139">
                  <c:v>44456</c:v>
                </c:pt>
                <c:pt idx="140">
                  <c:v>44457</c:v>
                </c:pt>
                <c:pt idx="141">
                  <c:v>44458</c:v>
                </c:pt>
                <c:pt idx="142">
                  <c:v>44459</c:v>
                </c:pt>
                <c:pt idx="143">
                  <c:v>44460</c:v>
                </c:pt>
                <c:pt idx="144">
                  <c:v>44461</c:v>
                </c:pt>
                <c:pt idx="145">
                  <c:v>44462</c:v>
                </c:pt>
                <c:pt idx="146">
                  <c:v>44463</c:v>
                </c:pt>
                <c:pt idx="147">
                  <c:v>44464</c:v>
                </c:pt>
                <c:pt idx="148">
                  <c:v>44465</c:v>
                </c:pt>
                <c:pt idx="149">
                  <c:v>44466</c:v>
                </c:pt>
                <c:pt idx="150">
                  <c:v>44467</c:v>
                </c:pt>
                <c:pt idx="151">
                  <c:v>44468</c:v>
                </c:pt>
                <c:pt idx="152">
                  <c:v>44469</c:v>
                </c:pt>
                <c:pt idx="153">
                  <c:v>44470</c:v>
                </c:pt>
                <c:pt idx="154">
                  <c:v>44471</c:v>
                </c:pt>
                <c:pt idx="155">
                  <c:v>44472</c:v>
                </c:pt>
                <c:pt idx="156">
                  <c:v>44473</c:v>
                </c:pt>
                <c:pt idx="157">
                  <c:v>44474</c:v>
                </c:pt>
                <c:pt idx="158">
                  <c:v>44475</c:v>
                </c:pt>
                <c:pt idx="159">
                  <c:v>44476</c:v>
                </c:pt>
                <c:pt idx="160">
                  <c:v>44477</c:v>
                </c:pt>
                <c:pt idx="161">
                  <c:v>44478</c:v>
                </c:pt>
                <c:pt idx="162">
                  <c:v>44479</c:v>
                </c:pt>
                <c:pt idx="163">
                  <c:v>44480</c:v>
                </c:pt>
                <c:pt idx="164">
                  <c:v>44481</c:v>
                </c:pt>
                <c:pt idx="165">
                  <c:v>44482</c:v>
                </c:pt>
                <c:pt idx="166">
                  <c:v>44483</c:v>
                </c:pt>
                <c:pt idx="167">
                  <c:v>44484</c:v>
                </c:pt>
                <c:pt idx="168">
                  <c:v>44485</c:v>
                </c:pt>
                <c:pt idx="169">
                  <c:v>44486</c:v>
                </c:pt>
                <c:pt idx="170">
                  <c:v>44487</c:v>
                </c:pt>
                <c:pt idx="171">
                  <c:v>44488</c:v>
                </c:pt>
                <c:pt idx="172">
                  <c:v>44489</c:v>
                </c:pt>
                <c:pt idx="173">
                  <c:v>44490</c:v>
                </c:pt>
                <c:pt idx="174">
                  <c:v>44491</c:v>
                </c:pt>
                <c:pt idx="175">
                  <c:v>44492</c:v>
                </c:pt>
                <c:pt idx="176">
                  <c:v>44493</c:v>
                </c:pt>
                <c:pt idx="177">
                  <c:v>44494</c:v>
                </c:pt>
                <c:pt idx="178">
                  <c:v>44495</c:v>
                </c:pt>
                <c:pt idx="179">
                  <c:v>44496</c:v>
                </c:pt>
                <c:pt idx="180">
                  <c:v>44497</c:v>
                </c:pt>
                <c:pt idx="181">
                  <c:v>44498</c:v>
                </c:pt>
                <c:pt idx="182">
                  <c:v>44499</c:v>
                </c:pt>
                <c:pt idx="183">
                  <c:v>44500</c:v>
                </c:pt>
                <c:pt idx="184">
                  <c:v>44501</c:v>
                </c:pt>
                <c:pt idx="185">
                  <c:v>44502</c:v>
                </c:pt>
                <c:pt idx="186">
                  <c:v>44503</c:v>
                </c:pt>
                <c:pt idx="187">
                  <c:v>44504</c:v>
                </c:pt>
                <c:pt idx="188">
                  <c:v>44505</c:v>
                </c:pt>
                <c:pt idx="189">
                  <c:v>44506</c:v>
                </c:pt>
                <c:pt idx="190">
                  <c:v>44507</c:v>
                </c:pt>
                <c:pt idx="191">
                  <c:v>44508</c:v>
                </c:pt>
                <c:pt idx="192">
                  <c:v>44509</c:v>
                </c:pt>
                <c:pt idx="193">
                  <c:v>44510</c:v>
                </c:pt>
                <c:pt idx="194">
                  <c:v>44511</c:v>
                </c:pt>
                <c:pt idx="195">
                  <c:v>44512</c:v>
                </c:pt>
                <c:pt idx="196">
                  <c:v>44513</c:v>
                </c:pt>
                <c:pt idx="197">
                  <c:v>44514</c:v>
                </c:pt>
                <c:pt idx="198">
                  <c:v>44515</c:v>
                </c:pt>
                <c:pt idx="199">
                  <c:v>44516</c:v>
                </c:pt>
                <c:pt idx="200">
                  <c:v>44517</c:v>
                </c:pt>
                <c:pt idx="201">
                  <c:v>44518</c:v>
                </c:pt>
                <c:pt idx="202">
                  <c:v>44519</c:v>
                </c:pt>
                <c:pt idx="203">
                  <c:v>44520</c:v>
                </c:pt>
                <c:pt idx="204">
                  <c:v>44521</c:v>
                </c:pt>
                <c:pt idx="205">
                  <c:v>44522</c:v>
                </c:pt>
                <c:pt idx="206">
                  <c:v>44523</c:v>
                </c:pt>
                <c:pt idx="207">
                  <c:v>44524</c:v>
                </c:pt>
                <c:pt idx="208">
                  <c:v>44525</c:v>
                </c:pt>
                <c:pt idx="209">
                  <c:v>44526</c:v>
                </c:pt>
                <c:pt idx="210">
                  <c:v>44527</c:v>
                </c:pt>
                <c:pt idx="211">
                  <c:v>44528</c:v>
                </c:pt>
                <c:pt idx="212">
                  <c:v>44529</c:v>
                </c:pt>
                <c:pt idx="213">
                  <c:v>44530</c:v>
                </c:pt>
                <c:pt idx="214">
                  <c:v>44531</c:v>
                </c:pt>
                <c:pt idx="215">
                  <c:v>44532</c:v>
                </c:pt>
                <c:pt idx="216">
                  <c:v>44533</c:v>
                </c:pt>
                <c:pt idx="217">
                  <c:v>44534</c:v>
                </c:pt>
                <c:pt idx="218">
                  <c:v>44535</c:v>
                </c:pt>
                <c:pt idx="219">
                  <c:v>44536</c:v>
                </c:pt>
                <c:pt idx="220">
                  <c:v>44537</c:v>
                </c:pt>
                <c:pt idx="221">
                  <c:v>44538</c:v>
                </c:pt>
                <c:pt idx="222">
                  <c:v>44539</c:v>
                </c:pt>
                <c:pt idx="223">
                  <c:v>44540</c:v>
                </c:pt>
                <c:pt idx="224">
                  <c:v>44541</c:v>
                </c:pt>
                <c:pt idx="225">
                  <c:v>44542</c:v>
                </c:pt>
                <c:pt idx="226">
                  <c:v>44543</c:v>
                </c:pt>
                <c:pt idx="227">
                  <c:v>44544</c:v>
                </c:pt>
                <c:pt idx="228">
                  <c:v>44545</c:v>
                </c:pt>
                <c:pt idx="229">
                  <c:v>44546</c:v>
                </c:pt>
                <c:pt idx="230">
                  <c:v>44547</c:v>
                </c:pt>
                <c:pt idx="231">
                  <c:v>44548</c:v>
                </c:pt>
                <c:pt idx="232">
                  <c:v>44549</c:v>
                </c:pt>
                <c:pt idx="233">
                  <c:v>44550</c:v>
                </c:pt>
                <c:pt idx="234">
                  <c:v>44551</c:v>
                </c:pt>
                <c:pt idx="235">
                  <c:v>44552</c:v>
                </c:pt>
                <c:pt idx="236">
                  <c:v>44553</c:v>
                </c:pt>
                <c:pt idx="237">
                  <c:v>44554</c:v>
                </c:pt>
                <c:pt idx="238">
                  <c:v>44555</c:v>
                </c:pt>
                <c:pt idx="239">
                  <c:v>44556</c:v>
                </c:pt>
                <c:pt idx="240">
                  <c:v>44557</c:v>
                </c:pt>
                <c:pt idx="241">
                  <c:v>44558</c:v>
                </c:pt>
                <c:pt idx="242">
                  <c:v>44559</c:v>
                </c:pt>
                <c:pt idx="243">
                  <c:v>44560</c:v>
                </c:pt>
                <c:pt idx="244">
                  <c:v>44561</c:v>
                </c:pt>
                <c:pt idx="245">
                  <c:v>44562</c:v>
                </c:pt>
                <c:pt idx="246">
                  <c:v>44563</c:v>
                </c:pt>
                <c:pt idx="247">
                  <c:v>44564</c:v>
                </c:pt>
                <c:pt idx="248">
                  <c:v>44565</c:v>
                </c:pt>
              </c:numCache>
            </c:numRef>
          </c:cat>
          <c:val>
            <c:numRef>
              <c:f>Sheet1!$F$2:$F$250</c:f>
              <c:numCache>
                <c:formatCode>General</c:formatCode>
                <c:ptCount val="249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76E4-4310-8D88-35AA5185297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093791"/>
        <c:axId val="209778303"/>
      </c:lineChart>
      <c:catAx>
        <c:axId val="20709379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9778303"/>
        <c:crosses val="autoZero"/>
        <c:auto val="1"/>
        <c:lblAlgn val="ctr"/>
        <c:lblOffset val="100"/>
        <c:tickLblSkip val="7"/>
        <c:noMultiLvlLbl val="1"/>
      </c:catAx>
      <c:valAx>
        <c:axId val="20977830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70937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1"/>
        <c:delete val="1"/>
      </c:legendEntry>
      <c:legendEntry>
        <c:idx val="2"/>
        <c:delete val="1"/>
      </c:legendEntry>
      <c:legendEntry>
        <c:idx val="3"/>
        <c:delete val="1"/>
      </c:legendEntry>
      <c:legendEntry>
        <c:idx val="4"/>
        <c:delete val="1"/>
      </c:legendEntry>
      <c:layout>
        <c:manualLayout>
          <c:xMode val="edge"/>
          <c:yMode val="edge"/>
          <c:x val="0.20000242690338468"/>
          <c:y val="4.6874997116449491E-2"/>
          <c:w val="0.14188217964413682"/>
          <c:h val="4.7962349411764922E-2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3540174655991521E-2"/>
          <c:y val="1.8901591360062028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244</c:v>
                </c:pt>
                <c:pt idx="1">
                  <c:v>234</c:v>
                </c:pt>
                <c:pt idx="2">
                  <c:v>247</c:v>
                </c:pt>
                <c:pt idx="3">
                  <c:v>302</c:v>
                </c:pt>
                <c:pt idx="4">
                  <c:v>302</c:v>
                </c:pt>
                <c:pt idx="5">
                  <c:v>327</c:v>
                </c:pt>
                <c:pt idx="6">
                  <c:v>316</c:v>
                </c:pt>
                <c:pt idx="7">
                  <c:v>344</c:v>
                </c:pt>
                <c:pt idx="8">
                  <c:v>333</c:v>
                </c:pt>
                <c:pt idx="9">
                  <c:v>350</c:v>
                </c:pt>
                <c:pt idx="10">
                  <c:v>425</c:v>
                </c:pt>
                <c:pt idx="11">
                  <c:v>444</c:v>
                </c:pt>
                <c:pt idx="12">
                  <c:v>470</c:v>
                </c:pt>
                <c:pt idx="13">
                  <c:v>496</c:v>
                </c:pt>
                <c:pt idx="14">
                  <c:v>527</c:v>
                </c:pt>
                <c:pt idx="15">
                  <c:v>515</c:v>
                </c:pt>
                <c:pt idx="16">
                  <c:v>541</c:v>
                </c:pt>
                <c:pt idx="17">
                  <c:v>663</c:v>
                </c:pt>
                <c:pt idx="18">
                  <c:v>734</c:v>
                </c:pt>
                <c:pt idx="19">
                  <c:v>795</c:v>
                </c:pt>
                <c:pt idx="20">
                  <c:v>850</c:v>
                </c:pt>
                <c:pt idx="21">
                  <c:v>922</c:v>
                </c:pt>
                <c:pt idx="22">
                  <c:v>929</c:v>
                </c:pt>
                <c:pt idx="23">
                  <c:v>992</c:v>
                </c:pt>
                <c:pt idx="24">
                  <c:v>1175</c:v>
                </c:pt>
                <c:pt idx="25">
                  <c:v>1294</c:v>
                </c:pt>
                <c:pt idx="26">
                  <c:v>1396</c:v>
                </c:pt>
                <c:pt idx="27">
                  <c:v>1391</c:v>
                </c:pt>
                <c:pt idx="28">
                  <c:v>1578</c:v>
                </c:pt>
                <c:pt idx="29">
                  <c:v>1597</c:v>
                </c:pt>
                <c:pt idx="30">
                  <c:v>1730</c:v>
                </c:pt>
                <c:pt idx="31">
                  <c:v>2103</c:v>
                </c:pt>
                <c:pt idx="32">
                  <c:v>2293</c:v>
                </c:pt>
                <c:pt idx="33">
                  <c:v>2495</c:v>
                </c:pt>
                <c:pt idx="34">
                  <c:v>2657</c:v>
                </c:pt>
                <c:pt idx="35">
                  <c:v>2801</c:v>
                </c:pt>
                <c:pt idx="36">
                  <c:v>2801</c:v>
                </c:pt>
                <c:pt idx="37">
                  <c:v>2952</c:v>
                </c:pt>
                <c:pt idx="38">
                  <c:v>3413</c:v>
                </c:pt>
                <c:pt idx="39">
                  <c:v>3609</c:v>
                </c:pt>
                <c:pt idx="40">
                  <c:v>3756</c:v>
                </c:pt>
                <c:pt idx="41">
                  <c:v>3885</c:v>
                </c:pt>
                <c:pt idx="42">
                  <c:v>4049</c:v>
                </c:pt>
                <c:pt idx="43">
                  <c:v>3988</c:v>
                </c:pt>
                <c:pt idx="44">
                  <c:v>4130</c:v>
                </c:pt>
                <c:pt idx="45">
                  <c:v>4785</c:v>
                </c:pt>
                <c:pt idx="46">
                  <c:v>4862</c:v>
                </c:pt>
                <c:pt idx="47">
                  <c:v>4821</c:v>
                </c:pt>
                <c:pt idx="48">
                  <c:v>5187</c:v>
                </c:pt>
                <c:pt idx="49">
                  <c:v>5314</c:v>
                </c:pt>
                <c:pt idx="50">
                  <c:v>5202</c:v>
                </c:pt>
                <c:pt idx="51">
                  <c:v>5420</c:v>
                </c:pt>
                <c:pt idx="52">
                  <c:v>6012</c:v>
                </c:pt>
                <c:pt idx="53">
                  <c:v>6124</c:v>
                </c:pt>
                <c:pt idx="54">
                  <c:v>6215</c:v>
                </c:pt>
                <c:pt idx="55">
                  <c:v>6325</c:v>
                </c:pt>
                <c:pt idx="56">
                  <c:v>6425</c:v>
                </c:pt>
                <c:pt idx="57">
                  <c:v>6208</c:v>
                </c:pt>
                <c:pt idx="58">
                  <c:v>6409</c:v>
                </c:pt>
                <c:pt idx="59">
                  <c:v>7082</c:v>
                </c:pt>
                <c:pt idx="60">
                  <c:v>7015</c:v>
                </c:pt>
                <c:pt idx="61">
                  <c:v>6964</c:v>
                </c:pt>
                <c:pt idx="62">
                  <c:v>7059</c:v>
                </c:pt>
                <c:pt idx="63">
                  <c:v>7018</c:v>
                </c:pt>
                <c:pt idx="64">
                  <c:v>6556</c:v>
                </c:pt>
                <c:pt idx="65">
                  <c:v>6663</c:v>
                </c:pt>
                <c:pt idx="66">
                  <c:v>71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D78-4199-B1AF-D15DDE2F1D0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D78-4199-B1AF-D15DDE2F1D0C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3874.8266915745999</c:v>
                </c:pt>
                <c:pt idx="43">
                  <c:v>4000.7649631137347</c:v>
                </c:pt>
                <c:pt idx="44">
                  <c:v>4126.3636197642345</c:v>
                </c:pt>
                <c:pt idx="45">
                  <c:v>4246.851958635968</c:v>
                </c:pt>
                <c:pt idx="46">
                  <c:v>4357.7449058198672</c:v>
                </c:pt>
                <c:pt idx="47">
                  <c:v>4461.1798325185819</c:v>
                </c:pt>
                <c:pt idx="48">
                  <c:v>4561.4503701634731</c:v>
                </c:pt>
                <c:pt idx="49">
                  <c:v>4660.4655418011043</c:v>
                </c:pt>
                <c:pt idx="50">
                  <c:v>4757.6593438429773</c:v>
                </c:pt>
                <c:pt idx="51">
                  <c:v>4858.1037055510296</c:v>
                </c:pt>
                <c:pt idx="52">
                  <c:v>4955.269813729863</c:v>
                </c:pt>
                <c:pt idx="53">
                  <c:v>5037.851718867676</c:v>
                </c:pt>
                <c:pt idx="54">
                  <c:v>5112.8062867582794</c:v>
                </c:pt>
                <c:pt idx="55">
                  <c:v>5184.835706396997</c:v>
                </c:pt>
                <c:pt idx="56">
                  <c:v>5255.5396750814853</c:v>
                </c:pt>
                <c:pt idx="57">
                  <c:v>5325.598673688386</c:v>
                </c:pt>
                <c:pt idx="58">
                  <c:v>5394.5302687169542</c:v>
                </c:pt>
                <c:pt idx="59">
                  <c:v>5461.5112579097113</c:v>
                </c:pt>
                <c:pt idx="60">
                  <c:v>5523.1067654692479</c:v>
                </c:pt>
                <c:pt idx="61">
                  <c:v>5579.9682808836287</c:v>
                </c:pt>
                <c:pt idx="62">
                  <c:v>5632.7848342359175</c:v>
                </c:pt>
                <c:pt idx="63">
                  <c:v>5681.9344968879623</c:v>
                </c:pt>
                <c:pt idx="64">
                  <c:v>5726.9117901050686</c:v>
                </c:pt>
                <c:pt idx="65">
                  <c:v>5768.6191703553786</c:v>
                </c:pt>
                <c:pt idx="66">
                  <c:v>5806.331035746306</c:v>
                </c:pt>
                <c:pt idx="67">
                  <c:v>5840.2229265257092</c:v>
                </c:pt>
                <c:pt idx="68">
                  <c:v>5868.9282885581742</c:v>
                </c:pt>
                <c:pt idx="69">
                  <c:v>5893.066540476214</c:v>
                </c:pt>
                <c:pt idx="70">
                  <c:v>5913.1832379434618</c:v>
                </c:pt>
                <c:pt idx="71">
                  <c:v>5927.2707698645772</c:v>
                </c:pt>
                <c:pt idx="72">
                  <c:v>5936.7406334869083</c:v>
                </c:pt>
                <c:pt idx="73">
                  <c:v>5941.7682210099592</c:v>
                </c:pt>
                <c:pt idx="74">
                  <c:v>5941.4840299436855</c:v>
                </c:pt>
                <c:pt idx="75">
                  <c:v>5936.195389534023</c:v>
                </c:pt>
                <c:pt idx="76">
                  <c:v>5926.0593653684864</c:v>
                </c:pt>
                <c:pt idx="77">
                  <c:v>5911.4925302807633</c:v>
                </c:pt>
                <c:pt idx="78">
                  <c:v>5891.1145246271162</c:v>
                </c:pt>
                <c:pt idx="79">
                  <c:v>5866.1678405466055</c:v>
                </c:pt>
                <c:pt idx="80">
                  <c:v>5836.6640093508631</c:v>
                </c:pt>
                <c:pt idx="81">
                  <c:v>5801.8842766630705</c:v>
                </c:pt>
                <c:pt idx="82">
                  <c:v>5762.00730520045</c:v>
                </c:pt>
                <c:pt idx="83">
                  <c:v>5718.2310743467187</c:v>
                </c:pt>
                <c:pt idx="84">
                  <c:v>5670.1237920150888</c:v>
                </c:pt>
                <c:pt idx="85">
                  <c:v>5616.8306867096653</c:v>
                </c:pt>
                <c:pt idx="86">
                  <c:v>5560.4493417457879</c:v>
                </c:pt>
                <c:pt idx="87">
                  <c:v>5500.5212514270288</c:v>
                </c:pt>
                <c:pt idx="88">
                  <c:v>5434.9249047022331</c:v>
                </c:pt>
                <c:pt idx="89">
                  <c:v>5366.4713539503819</c:v>
                </c:pt>
                <c:pt idx="90">
                  <c:v>5295.1997817793708</c:v>
                </c:pt>
                <c:pt idx="91">
                  <c:v>5220.5883678919145</c:v>
                </c:pt>
                <c:pt idx="92">
                  <c:v>5141.6385683384133</c:v>
                </c:pt>
                <c:pt idx="93">
                  <c:v>5059.7844572957165</c:v>
                </c:pt>
                <c:pt idx="94">
                  <c:v>4975.64411772108</c:v>
                </c:pt>
                <c:pt idx="95">
                  <c:v>4888.91526968881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2D78-4199-B1AF-D15DDE2F1D0C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3883.7724957326495</c:v>
                </c:pt>
                <c:pt idx="43">
                  <c:v>4021.8651703173623</c:v>
                </c:pt>
                <c:pt idx="44">
                  <c:v>4163.0571947267426</c:v>
                </c:pt>
                <c:pt idx="45">
                  <c:v>4302.6712117083398</c:v>
                </c:pt>
                <c:pt idx="46">
                  <c:v>4436.3983667800385</c:v>
                </c:pt>
                <c:pt idx="47">
                  <c:v>4566.3664649222883</c:v>
                </c:pt>
                <c:pt idx="48">
                  <c:v>4696.922545893809</c:v>
                </c:pt>
                <c:pt idx="49">
                  <c:v>4829.8886898653509</c:v>
                </c:pt>
                <c:pt idx="50">
                  <c:v>4964.6851723175723</c:v>
                </c:pt>
                <c:pt idx="51">
                  <c:v>5106.269164907766</c:v>
                </c:pt>
                <c:pt idx="52">
                  <c:v>5248.0490617810729</c:v>
                </c:pt>
                <c:pt idx="53">
                  <c:v>5378.580127219092</c:v>
                </c:pt>
                <c:pt idx="54">
                  <c:v>5504.7041800399766</c:v>
                </c:pt>
                <c:pt idx="55">
                  <c:v>5630.9313152074355</c:v>
                </c:pt>
                <c:pt idx="56">
                  <c:v>5758.5854770970145</c:v>
                </c:pt>
                <c:pt idx="57">
                  <c:v>5887.8355049395122</c:v>
                </c:pt>
                <c:pt idx="58">
                  <c:v>6018.0363754738419</c:v>
                </c:pt>
                <c:pt idx="59">
                  <c:v>6148.1174291578554</c:v>
                </c:pt>
                <c:pt idx="60">
                  <c:v>6274.4753812746858</c:v>
                </c:pt>
                <c:pt idx="61">
                  <c:v>6397.4250467610236</c:v>
                </c:pt>
                <c:pt idx="62">
                  <c:v>6517.4063018172383</c:v>
                </c:pt>
                <c:pt idx="63">
                  <c:v>6634.4979616464334</c:v>
                </c:pt>
                <c:pt idx="64">
                  <c:v>6747.8381258254458</c:v>
                </c:pt>
                <c:pt idx="65">
                  <c:v>6858.0152150647637</c:v>
                </c:pt>
                <c:pt idx="66">
                  <c:v>6964.0475227458246</c:v>
                </c:pt>
                <c:pt idx="67">
                  <c:v>7065.8127870876542</c:v>
                </c:pt>
                <c:pt idx="68">
                  <c:v>7161.6785672445512</c:v>
                </c:pt>
                <c:pt idx="69">
                  <c:v>7251.9875202190015</c:v>
                </c:pt>
                <c:pt idx="70">
                  <c:v>7336.9974130292958</c:v>
                </c:pt>
                <c:pt idx="71">
                  <c:v>7414.4261695508631</c:v>
                </c:pt>
                <c:pt idx="72">
                  <c:v>7485.4020724328948</c:v>
                </c:pt>
                <c:pt idx="73">
                  <c:v>7549.8552017784723</c:v>
                </c:pt>
                <c:pt idx="74">
                  <c:v>7606.6812658407453</c:v>
                </c:pt>
                <c:pt idx="75">
                  <c:v>7655.9601133157576</c:v>
                </c:pt>
                <c:pt idx="76">
                  <c:v>7697.6356567036792</c:v>
                </c:pt>
                <c:pt idx="77">
                  <c:v>7731.9422521323922</c:v>
                </c:pt>
                <c:pt idx="78">
                  <c:v>7757.3172289474423</c:v>
                </c:pt>
                <c:pt idx="79">
                  <c:v>7774.8523594207982</c:v>
                </c:pt>
                <c:pt idx="80">
                  <c:v>7784.4222024789424</c:v>
                </c:pt>
                <c:pt idx="81">
                  <c:v>7785.1904771195786</c:v>
                </c:pt>
                <c:pt idx="82">
                  <c:v>7777.2303691396628</c:v>
                </c:pt>
                <c:pt idx="83">
                  <c:v>7761.6674912508715</c:v>
                </c:pt>
                <c:pt idx="84">
                  <c:v>7738.0130518590777</c:v>
                </c:pt>
                <c:pt idx="85">
                  <c:v>7705.3756244397246</c:v>
                </c:pt>
                <c:pt idx="86">
                  <c:v>7665.8362387460747</c:v>
                </c:pt>
                <c:pt idx="87">
                  <c:v>7618.9391382218619</c:v>
                </c:pt>
                <c:pt idx="88">
                  <c:v>7562.5763308956848</c:v>
                </c:pt>
                <c:pt idx="89">
                  <c:v>7499.6033427889088</c:v>
                </c:pt>
                <c:pt idx="90">
                  <c:v>7430.1080738058808</c:v>
                </c:pt>
                <c:pt idx="91">
                  <c:v>7353.6387736028464</c:v>
                </c:pt>
                <c:pt idx="92">
                  <c:v>7269.1761846328609</c:v>
                </c:pt>
                <c:pt idx="93">
                  <c:v>7178.3251169050318</c:v>
                </c:pt>
                <c:pt idx="94">
                  <c:v>7081.8141108436257</c:v>
                </c:pt>
                <c:pt idx="95">
                  <c:v>6979.46347204152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2D78-4199-B1AF-D15DDE2F1D0C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3892.7752822914986</c:v>
                </c:pt>
                <c:pt idx="43">
                  <c:v>4043.1687347470602</c:v>
                </c:pt>
                <c:pt idx="44">
                  <c:v>4200.2470000448029</c:v>
                </c:pt>
                <c:pt idx="45">
                  <c:v>4359.4916428298739</c:v>
                </c:pt>
                <c:pt idx="46">
                  <c:v>4516.8426085193496</c:v>
                </c:pt>
                <c:pt idx="47">
                  <c:v>4674.4950136332509</c:v>
                </c:pt>
                <c:pt idx="48">
                  <c:v>4836.9296358195497</c:v>
                </c:pt>
                <c:pt idx="49">
                  <c:v>5005.9629248299843</c:v>
                </c:pt>
                <c:pt idx="50">
                  <c:v>5181.0823628909493</c:v>
                </c:pt>
                <c:pt idx="51">
                  <c:v>5367.2087561997487</c:v>
                </c:pt>
                <c:pt idx="52">
                  <c:v>5557.7622339853697</c:v>
                </c:pt>
                <c:pt idx="53">
                  <c:v>5741.2274125797849</c:v>
                </c:pt>
                <c:pt idx="54">
                  <c:v>5924.3916908957708</c:v>
                </c:pt>
                <c:pt idx="55">
                  <c:v>6111.6242528419061</c:v>
                </c:pt>
                <c:pt idx="56">
                  <c:v>6304.0139361848651</c:v>
                </c:pt>
                <c:pt idx="57">
                  <c:v>6501.2446122618312</c:v>
                </c:pt>
                <c:pt idx="58">
                  <c:v>6702.522830665479</c:v>
                </c:pt>
                <c:pt idx="59">
                  <c:v>6906.5301863113764</c:v>
                </c:pt>
                <c:pt idx="60">
                  <c:v>7109.4791726113908</c:v>
                </c:pt>
                <c:pt idx="61">
                  <c:v>7311.3153925703828</c:v>
                </c:pt>
                <c:pt idx="62">
                  <c:v>7512.1806540221532</c:v>
                </c:pt>
                <c:pt idx="63">
                  <c:v>7711.7892970140019</c:v>
                </c:pt>
                <c:pt idx="64">
                  <c:v>7908.8414601342902</c:v>
                </c:pt>
                <c:pt idx="65">
                  <c:v>8103.5161819879368</c:v>
                </c:pt>
                <c:pt idx="66">
                  <c:v>8294.4674585003886</c:v>
                </c:pt>
                <c:pt idx="67">
                  <c:v>8481.1526524327164</c:v>
                </c:pt>
                <c:pt idx="68">
                  <c:v>8661.5385703678348</c:v>
                </c:pt>
                <c:pt idx="69">
                  <c:v>8835.5454934832705</c:v>
                </c:pt>
                <c:pt idx="70">
                  <c:v>9002.9890621874674</c:v>
                </c:pt>
                <c:pt idx="71">
                  <c:v>9161.1516483523137</c:v>
                </c:pt>
                <c:pt idx="72">
                  <c:v>9310.7132913458518</c:v>
                </c:pt>
                <c:pt idx="73">
                  <c:v>9451.1919071894808</c:v>
                </c:pt>
                <c:pt idx="74">
                  <c:v>9581.0814534073252</c:v>
                </c:pt>
                <c:pt idx="75">
                  <c:v>9700.0694388859683</c:v>
                </c:pt>
                <c:pt idx="76">
                  <c:v>9807.726184872894</c:v>
                </c:pt>
                <c:pt idx="77">
                  <c:v>9903.9501133799276</c:v>
                </c:pt>
                <c:pt idx="78">
                  <c:v>9986.8513187595854</c:v>
                </c:pt>
                <c:pt idx="79">
                  <c:v>10057.236771960852</c:v>
                </c:pt>
                <c:pt idx="80">
                  <c:v>10114.72246934113</c:v>
                </c:pt>
                <c:pt idx="81">
                  <c:v>10158.247083233073</c:v>
                </c:pt>
                <c:pt idx="82">
                  <c:v>10187.686256884106</c:v>
                </c:pt>
                <c:pt idx="83">
                  <c:v>10204.017835551913</c:v>
                </c:pt>
                <c:pt idx="84">
                  <c:v>10206.638131698186</c:v>
                </c:pt>
                <c:pt idx="85">
                  <c:v>10194.579248587941</c:v>
                </c:pt>
                <c:pt idx="86">
                  <c:v>10169.884223290057</c:v>
                </c:pt>
                <c:pt idx="87">
                  <c:v>10132.096963673484</c:v>
                </c:pt>
                <c:pt idx="88">
                  <c:v>10079.137980044041</c:v>
                </c:pt>
                <c:pt idx="89">
                  <c:v>10013.939924979448</c:v>
                </c:pt>
                <c:pt idx="90">
                  <c:v>9936.6889466502089</c:v>
                </c:pt>
                <c:pt idx="91">
                  <c:v>9847.0688784891026</c:v>
                </c:pt>
                <c:pt idx="92">
                  <c:v>9744.1194406107588</c:v>
                </c:pt>
                <c:pt idx="93">
                  <c:v>9629.7096549604648</c:v>
                </c:pt>
                <c:pt idx="94">
                  <c:v>9504.7837788229681</c:v>
                </c:pt>
                <c:pt idx="95">
                  <c:v>9369.400369487333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2D78-4199-B1AF-D15DDE2F1D0C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2D78-4199-B1AF-D15DDE2F1D0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08.12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3662383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2848819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6774637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5588956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5.sv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svg"/><Relationship Id="rId5" Type="http://schemas.openxmlformats.org/officeDocument/2006/relationships/image" Target="../media/image10.png"/><Relationship Id="rId4" Type="http://schemas.openxmlformats.org/officeDocument/2006/relationships/image" Target="../media/image5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14096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82985" y="6070628"/>
            <a:ext cx="1200000" cy="203079"/>
          </a:xfrm>
          <a:prstGeom prst="rect">
            <a:avLst/>
          </a:prstGeom>
        </p:spPr>
        <p:txBody>
          <a:bodyPr anchor="ctr"/>
          <a:lstStyle>
            <a:lvl1pPr>
              <a:defRPr sz="1050"/>
            </a:lvl1pPr>
          </a:lstStyle>
          <a:p>
            <a:fld id="{E4EC567F-E7DA-47BB-AEB1-9930A46F27B5}" type="datetimeFigureOut">
              <a:rPr lang="cs-CZ" smtClean="0"/>
              <a:pPr/>
              <a:t>08.12.2021</a:t>
            </a:fld>
            <a:endParaRPr lang="cs-CZ" dirty="0"/>
          </a:p>
        </p:txBody>
      </p:sp>
      <p:sp>
        <p:nvSpPr>
          <p:cNvPr id="11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1843916" y="6068291"/>
            <a:ext cx="8403411" cy="193324"/>
          </a:xfrm>
          <a:prstGeom prst="rect">
            <a:avLst/>
          </a:prstGeom>
        </p:spPr>
        <p:txBody>
          <a:bodyPr anchor="ctr"/>
          <a:lstStyle>
            <a:lvl1pPr algn="ctr">
              <a:defRPr sz="1050"/>
            </a:lvl1pPr>
          </a:lstStyle>
          <a:p>
            <a:endParaRPr lang="cs-CZ" dirty="0"/>
          </a:p>
        </p:txBody>
      </p:sp>
      <p:sp>
        <p:nvSpPr>
          <p:cNvPr id="12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10408541" y="6065807"/>
            <a:ext cx="1200000" cy="211101"/>
          </a:xfrm>
          <a:prstGeom prst="rect">
            <a:avLst/>
          </a:prstGeom>
        </p:spPr>
        <p:txBody>
          <a:bodyPr anchor="ctr"/>
          <a:lstStyle>
            <a:lvl1pPr algn="r">
              <a:defRPr sz="1050"/>
            </a:lvl1pPr>
          </a:lstStyle>
          <a:p>
            <a:fld id="{84C9401D-42AF-4231-A83B-9F6747628248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6" name="Nadpis 1"/>
          <p:cNvSpPr>
            <a:spLocks noGrp="1"/>
          </p:cNvSpPr>
          <p:nvPr>
            <p:ph type="title" hasCustomPrompt="1"/>
          </p:nvPr>
        </p:nvSpPr>
        <p:spPr>
          <a:xfrm>
            <a:off x="623392" y="260648"/>
            <a:ext cx="10945216" cy="648072"/>
          </a:xfrm>
          <a:prstGeom prst="rect">
            <a:avLst/>
          </a:prstGeom>
        </p:spPr>
        <p:txBody>
          <a:bodyPr anchor="ctr"/>
          <a:lstStyle>
            <a:lvl1pPr algn="l">
              <a:defRPr sz="3200"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70957048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891002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157121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35800649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5658009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398761691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9951940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08.12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2383556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BA61EBA-4FFF-4673-9BA0-55E82F99259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66FDA1FA-15B4-46DB-8563-9D168899EC0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0E34FA4-860E-40B4-97AD-3CF9B2CE90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08.12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0DD889F8-1CC5-41C1-BAF5-5D6BD0F6F5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EDA22AC9-06BD-4427-B62E-52F6A58CB1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5010495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730E577-8B32-4569-AC3C-76D6F2F6BD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F410C648-E034-410B-B01B-87701C8351F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E05F7769-50EF-4D0F-97C4-6A5E9227B1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08.12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1B6DB6D5-8367-4F80-AF41-87D069C803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ADF10414-C935-472D-B8FC-16EBD0EE01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55951154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122500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18BCBB21-C0F1-4B2B-8A1C-15DD2EBAB7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A7818461-3C43-44FE-80B9-D048BFA8E55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107805A-C211-4BDC-8A7C-50C017CDC0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08.12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5CF91BA1-1C1F-4294-9B84-82D31143C1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AB89D46F-E6FD-4433-AE57-F03CFCFF88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4984578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D6751BB3-54BB-497C-9D87-7331E63652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169F060A-A852-4CAC-8567-9FF26BE22C4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DA874AFF-9D96-448C-A700-2FC369C17CF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4FEB687C-F962-4BE7-8278-3C31FC255F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08.12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C8620F06-EBA0-40CC-9A9C-15001C536D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D0FDE4CA-77DD-417D-8C54-07ECB9628C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27352397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83EF8E94-026C-4341-B09E-E0FB30A2BA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90670218-0D2B-45AF-8CEE-4DF7A0BA97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BFFD3F4B-DA25-4423-9234-6270FB4E0C1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57E2AC16-B4BF-4A45-92DD-CD16581B2D7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7000A558-D06F-4CAD-88FC-71F13523FA6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118A76E9-680A-4BC2-86CB-5D2DB66F56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08.12.2021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1152DBE4-0E61-401B-BD63-91D12BCAE9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C424E131-06CD-4DDF-BC06-F98D2D3B9B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399022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B85B3AFD-D5D4-46CB-9F1D-95D2EFDFBB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B1BD99F9-6247-4A54-87C4-9749A54B1A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08.12.2021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F8DBF052-AB7F-4048-9680-0492DCE6D0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B92A02BA-2BB6-4CF6-8B58-CFAA66013A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58909013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D612E4EC-12D7-42E4-AE43-F6D7008AB3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08.12.2021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2706D130-0739-4330-9775-702FDF7EE7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A94FAE36-22DA-4CEF-82CE-F85F3D6E5E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18081215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C0AC2F0-B610-42BD-9258-BE4E8A4796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9594586C-48B1-4459-A0A6-DFA4C0FE38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7618E00B-DFA9-4ABA-9E89-EC4C6B3AC9F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0E3D956F-D736-467D-809E-A6B8EBBB7B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08.12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EA2BC7A4-764C-4169-ADBC-7F1248B44C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B88FFD62-2584-4271-8B43-930689E422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3011957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55F6CA7-4510-4C38-AB29-269B0667E7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525F525D-76F8-4F89-ACDB-370F1E3E47C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0513CD65-3F93-416A-8079-50A6B39FD29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6FE6EB9A-EACF-42B5-8677-B501B2A425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08.12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C6CB2E11-5C59-4983-B23C-9405031356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A284666C-EC8D-44A8-94DD-5735F90594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6196314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7C593D8-E6C3-42E0-91E5-34BBFE7635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07D27C9F-D286-49AD-B637-AB03985B6A0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60051D3F-4680-4DFE-9D28-92707289CE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08.12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31A2C8DA-A4B9-4CA7-8902-C297ECB62B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14C9B13D-3976-43E2-9805-3E309ABC75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9718086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2A4CD9B6-8A80-4B59-B5D5-0A7202A073E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3D6E8B14-04CE-430A-97C5-E63E3AC6241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CA124C15-1E21-44AA-B0CF-567922D2D9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08.12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277C4AD0-92D5-4BED-AD8D-2078F6B78A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0065E49F-34C0-46C8-AAEF-3C9FAFE7C2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2244351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383561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31696962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389387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367173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414996224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3852354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15070366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600176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08.12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4216959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7538802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08.12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74290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1530278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Úvodní sníme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Obrázek 31">
            <a:extLst>
              <a:ext uri="{FF2B5EF4-FFF2-40B4-BE49-F238E27FC236}">
                <a16:creationId xmlns:a16="http://schemas.microsoft.com/office/drawing/2014/main" id="{195036A3-2C0E-4CFE-A711-5BBB07E7B7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7728" y="1584000"/>
            <a:ext cx="5336537" cy="3060000"/>
          </a:xfrm>
          <a:prstGeom prst="rect">
            <a:avLst/>
          </a:prstGeom>
        </p:spPr>
      </p:pic>
      <p:sp>
        <p:nvSpPr>
          <p:cNvPr id="16" name="Obdélník 15"/>
          <p:cNvSpPr/>
          <p:nvPr userDrawn="1"/>
        </p:nvSpPr>
        <p:spPr>
          <a:xfrm>
            <a:off x="-3" y="-38466"/>
            <a:ext cx="12192000" cy="6858000"/>
          </a:xfrm>
          <a:prstGeom prst="rect">
            <a:avLst/>
          </a:prstGeom>
          <a:gradFill flip="none" rotWithShape="1">
            <a:gsLst>
              <a:gs pos="49000">
                <a:schemeClr val="bg1"/>
              </a:gs>
              <a:gs pos="0">
                <a:schemeClr val="accent5">
                  <a:lumMod val="52000"/>
                  <a:lumOff val="48000"/>
                  <a:alpha val="67000"/>
                </a:schemeClr>
              </a:gs>
              <a:gs pos="100000">
                <a:schemeClr val="accent4">
                  <a:alpha val="6000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 dirty="0">
              <a:solidFill>
                <a:srgbClr val="274073"/>
              </a:solidFill>
            </a:endParaRPr>
          </a:p>
        </p:txBody>
      </p:sp>
      <p:sp>
        <p:nvSpPr>
          <p:cNvPr id="24" name="Obdélník 23"/>
          <p:cNvSpPr/>
          <p:nvPr userDrawn="1"/>
        </p:nvSpPr>
        <p:spPr>
          <a:xfrm>
            <a:off x="13436" y="5922000"/>
            <a:ext cx="12191997" cy="93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2" name="Nadpis 1"/>
          <p:cNvSpPr>
            <a:spLocks noGrp="1"/>
          </p:cNvSpPr>
          <p:nvPr>
            <p:ph type="ctrTitle" hasCustomPrompt="1"/>
          </p:nvPr>
        </p:nvSpPr>
        <p:spPr>
          <a:xfrm>
            <a:off x="914400" y="2720943"/>
            <a:ext cx="10363200" cy="891530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 hasCustomPrompt="1"/>
          </p:nvPr>
        </p:nvSpPr>
        <p:spPr>
          <a:xfrm>
            <a:off x="1828800" y="4887218"/>
            <a:ext cx="8534400" cy="694928"/>
          </a:xfrm>
        </p:spPr>
        <p:txBody>
          <a:bodyPr>
            <a:normAutofit/>
          </a:bodyPr>
          <a:lstStyle>
            <a:lvl1pPr marL="0" indent="0" algn="ctr">
              <a:buNone/>
              <a:defRPr sz="2800" b="1">
                <a:solidFill>
                  <a:schemeClr val="accent4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cs-CZ" dirty="0"/>
              <a:t>KLIKNUTÍM LZE UPRAVIT STYL PŘEDLOHY.</a:t>
            </a:r>
          </a:p>
        </p:txBody>
      </p:sp>
      <p:sp>
        <p:nvSpPr>
          <p:cNvPr id="9" name="Obdélník 8"/>
          <p:cNvSpPr/>
          <p:nvPr userDrawn="1"/>
        </p:nvSpPr>
        <p:spPr>
          <a:xfrm>
            <a:off x="-3" y="689910"/>
            <a:ext cx="12192000" cy="108012"/>
          </a:xfrm>
          <a:prstGeom prst="rect">
            <a:avLst/>
          </a:prstGeom>
          <a:solidFill>
            <a:srgbClr val="724F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13" name="Obdélník 12"/>
          <p:cNvSpPr/>
          <p:nvPr userDrawn="1"/>
        </p:nvSpPr>
        <p:spPr>
          <a:xfrm>
            <a:off x="-3" y="0"/>
            <a:ext cx="12192000" cy="68991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25" name="Obdélník 24"/>
          <p:cNvSpPr/>
          <p:nvPr userDrawn="1"/>
        </p:nvSpPr>
        <p:spPr>
          <a:xfrm>
            <a:off x="0" y="5879932"/>
            <a:ext cx="12192000" cy="45719"/>
          </a:xfrm>
          <a:prstGeom prst="rect">
            <a:avLst/>
          </a:prstGeom>
          <a:solidFill>
            <a:srgbClr val="004E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sp>
        <p:nvSpPr>
          <p:cNvPr id="17" name="TextovéPole 16"/>
          <p:cNvSpPr txBox="1"/>
          <p:nvPr userDrawn="1"/>
        </p:nvSpPr>
        <p:spPr>
          <a:xfrm>
            <a:off x="2788357" y="151329"/>
            <a:ext cx="8489243" cy="43088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100" dirty="0"/>
              <a:t>Národní koordinační centrum programů časného záchytu onemocnění I CZ.03.2.63/0.0/0.0/15_039/0006904</a:t>
            </a:r>
          </a:p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1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atová základna realizace screeningových programů CZ.03.2.63/0.0/0.0/15_039/0007216 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F88470AF-D48F-470D-AEEF-9666AC0B61BB}"/>
              </a:ext>
            </a:extLst>
          </p:cNvPr>
          <p:cNvGrpSpPr/>
          <p:nvPr userDrawn="1"/>
        </p:nvGrpSpPr>
        <p:grpSpPr>
          <a:xfrm>
            <a:off x="972000" y="99405"/>
            <a:ext cx="2394526" cy="521285"/>
            <a:chOff x="-3635511" y="3808741"/>
            <a:chExt cx="2394526" cy="521285"/>
          </a:xfrm>
        </p:grpSpPr>
        <p:pic>
          <p:nvPicPr>
            <p:cNvPr id="22" name="Obrázek 21">
              <a:extLst>
                <a:ext uri="{FF2B5EF4-FFF2-40B4-BE49-F238E27FC236}">
                  <a16:creationId xmlns:a16="http://schemas.microsoft.com/office/drawing/2014/main" id="{7C156A95-99FD-463F-A7F7-8DFAEC399BE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9077"/>
            <a:stretch/>
          </p:blipFill>
          <p:spPr>
            <a:xfrm>
              <a:off x="-3635511" y="3808741"/>
              <a:ext cx="754652" cy="505853"/>
            </a:xfrm>
            <a:prstGeom prst="rect">
              <a:avLst/>
            </a:prstGeom>
          </p:spPr>
        </p:pic>
        <p:sp>
          <p:nvSpPr>
            <p:cNvPr id="23" name="TextovéPole 22">
              <a:extLst>
                <a:ext uri="{FF2B5EF4-FFF2-40B4-BE49-F238E27FC236}">
                  <a16:creationId xmlns:a16="http://schemas.microsoft.com/office/drawing/2014/main" id="{4A16176F-E232-43A6-B00C-47517659318E}"/>
                </a:ext>
              </a:extLst>
            </p:cNvPr>
            <p:cNvSpPr txBox="1"/>
            <p:nvPr userDrawn="1"/>
          </p:nvSpPr>
          <p:spPr>
            <a:xfrm>
              <a:off x="-2954432" y="3822195"/>
              <a:ext cx="1713447" cy="5078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900" i="0" dirty="0">
                  <a:solidFill>
                    <a:schemeClr val="bg2">
                      <a:lumMod val="10000"/>
                    </a:schemeClr>
                  </a:solidFill>
                </a:rPr>
                <a:t>Evropská</a:t>
              </a:r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 unie</a:t>
              </a:r>
            </a:p>
            <a:p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Evropský sociální fond</a:t>
              </a:r>
            </a:p>
            <a:p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Operační program Zaměstnanost</a:t>
              </a:r>
              <a:endParaRPr lang="cs-CZ" sz="900" i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858CEEB2-107C-4552-B3EE-55408A9AA3DD}"/>
              </a:ext>
            </a:extLst>
          </p:cNvPr>
          <p:cNvSpPr txBox="1"/>
          <p:nvPr userDrawn="1"/>
        </p:nvSpPr>
        <p:spPr>
          <a:xfrm>
            <a:off x="1636734" y="6269165"/>
            <a:ext cx="38884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900" dirty="0">
                <a:solidFill>
                  <a:schemeClr val="accent2"/>
                </a:solidFill>
              </a:rPr>
              <a:t>Ústav zdravotnických informací a statistiky České republiky</a:t>
            </a:r>
          </a:p>
          <a:p>
            <a:r>
              <a:rPr lang="cs-CZ" sz="900" i="1" dirty="0">
                <a:solidFill>
                  <a:schemeClr val="accent2"/>
                </a:solidFill>
              </a:rPr>
              <a:t>Institute </a:t>
            </a:r>
            <a:r>
              <a:rPr lang="cs-CZ" sz="900" i="1" dirty="0" err="1">
                <a:solidFill>
                  <a:schemeClr val="accent2"/>
                </a:solidFill>
              </a:rPr>
              <a:t>of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Health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Information</a:t>
            </a:r>
            <a:r>
              <a:rPr lang="cs-CZ" sz="900" i="1" dirty="0">
                <a:solidFill>
                  <a:schemeClr val="accent2"/>
                </a:solidFill>
              </a:rPr>
              <a:t> and </a:t>
            </a:r>
            <a:r>
              <a:rPr lang="cs-CZ" sz="900" i="1" dirty="0" err="1">
                <a:solidFill>
                  <a:schemeClr val="accent2"/>
                </a:solidFill>
              </a:rPr>
              <a:t>Statistics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of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the</a:t>
            </a:r>
            <a:r>
              <a:rPr lang="cs-CZ" sz="900" i="1" dirty="0">
                <a:solidFill>
                  <a:schemeClr val="accent2"/>
                </a:solidFill>
              </a:rPr>
              <a:t> Czech Republic</a:t>
            </a:r>
          </a:p>
        </p:txBody>
      </p:sp>
      <p:pic>
        <p:nvPicPr>
          <p:cNvPr id="27" name="Obrázek 26">
            <a:extLst>
              <a:ext uri="{FF2B5EF4-FFF2-40B4-BE49-F238E27FC236}">
                <a16:creationId xmlns:a16="http://schemas.microsoft.com/office/drawing/2014/main" id="{9DC5116B-C626-40A9-A244-031AB6F7805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2000" y="6195600"/>
            <a:ext cx="654994" cy="432000"/>
          </a:xfrm>
          <a:prstGeom prst="rect">
            <a:avLst/>
          </a:prstGeom>
        </p:spPr>
      </p:pic>
      <p:pic>
        <p:nvPicPr>
          <p:cNvPr id="28" name="Grafický objekt 13">
            <a:extLst>
              <a:ext uri="{FF2B5EF4-FFF2-40B4-BE49-F238E27FC236}">
                <a16:creationId xmlns:a16="http://schemas.microsoft.com/office/drawing/2014/main" id="{C250F949-DEEF-49A4-8BDC-56E499AC995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360842" y="6300157"/>
            <a:ext cx="2859158" cy="242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75896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4178">
          <p15:clr>
            <a:srgbClr val="FBAE40"/>
          </p15:clr>
        </p15:guide>
        <p15:guide id="2" pos="7317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623392" y="980731"/>
            <a:ext cx="10944000" cy="4824537"/>
          </a:xfrm>
        </p:spPr>
        <p:txBody>
          <a:bodyPr/>
          <a:lstStyle>
            <a:lvl1pPr>
              <a:defRPr b="1">
                <a:solidFill>
                  <a:schemeClr val="tx2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7" name="Nadpis 1"/>
          <p:cNvSpPr>
            <a:spLocks noGrp="1"/>
          </p:cNvSpPr>
          <p:nvPr>
            <p:ph type="title" hasCustomPrompt="1"/>
          </p:nvPr>
        </p:nvSpPr>
        <p:spPr>
          <a:xfrm>
            <a:off x="623392" y="260648"/>
            <a:ext cx="10945216" cy="648072"/>
          </a:xfrm>
          <a:prstGeom prst="rect">
            <a:avLst/>
          </a:prstGeom>
        </p:spPr>
        <p:txBody>
          <a:bodyPr anchor="ctr"/>
          <a:lstStyle>
            <a:lvl1pPr algn="l">
              <a:defRPr sz="3200"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161967566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963084" y="3273006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>
                <a:solidFill>
                  <a:schemeClr val="tx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963084" y="1772819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rgbClr val="724F77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 dirty="0"/>
              <a:t>Kliknutím lze upravit styly předlohy textu.</a:t>
            </a:r>
          </a:p>
        </p:txBody>
      </p:sp>
      <p:sp>
        <p:nvSpPr>
          <p:cNvPr id="7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82985" y="6070628"/>
            <a:ext cx="1200000" cy="203079"/>
          </a:xfrm>
          <a:prstGeom prst="rect">
            <a:avLst/>
          </a:prstGeom>
        </p:spPr>
        <p:txBody>
          <a:bodyPr anchor="ctr"/>
          <a:lstStyle>
            <a:lvl1pPr>
              <a:defRPr sz="1050"/>
            </a:lvl1pPr>
          </a:lstStyle>
          <a:p>
            <a:fld id="{E4EC567F-E7DA-47BB-AEB1-9930A46F27B5}" type="datetimeFigureOut">
              <a:rPr lang="cs-CZ" smtClean="0"/>
              <a:pPr/>
              <a:t>08.12.2021</a:t>
            </a:fld>
            <a:endParaRPr lang="cs-CZ" dirty="0"/>
          </a:p>
        </p:txBody>
      </p:sp>
      <p:sp>
        <p:nvSpPr>
          <p:cNvPr id="8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1843916" y="6068291"/>
            <a:ext cx="8403411" cy="193324"/>
          </a:xfrm>
          <a:prstGeom prst="rect">
            <a:avLst/>
          </a:prstGeom>
        </p:spPr>
        <p:txBody>
          <a:bodyPr anchor="ctr"/>
          <a:lstStyle>
            <a:lvl1pPr algn="ctr">
              <a:defRPr sz="1050"/>
            </a:lvl1pPr>
          </a:lstStyle>
          <a:p>
            <a:endParaRPr lang="cs-CZ" dirty="0"/>
          </a:p>
        </p:txBody>
      </p:sp>
      <p:sp>
        <p:nvSpPr>
          <p:cNvPr id="9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10408541" y="6065807"/>
            <a:ext cx="1200000" cy="211101"/>
          </a:xfrm>
          <a:prstGeom prst="rect">
            <a:avLst/>
          </a:prstGeom>
        </p:spPr>
        <p:txBody>
          <a:bodyPr anchor="ctr"/>
          <a:lstStyle>
            <a:lvl1pPr algn="r">
              <a:defRPr sz="1050"/>
            </a:lvl1pPr>
          </a:lstStyle>
          <a:p>
            <a:fld id="{84C9401D-42AF-4231-A83B-9F6747628248}" type="slidenum">
              <a:rPr lang="cs-CZ" smtClean="0"/>
              <a:pPr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1661788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4.emf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.jpeg"/><Relationship Id="rId5" Type="http://schemas.openxmlformats.org/officeDocument/2006/relationships/theme" Target="../theme/theme2.xml"/><Relationship Id="rId10" Type="http://schemas.openxmlformats.org/officeDocument/2006/relationships/image" Target="../media/image7.svg"/><Relationship Id="rId4" Type="http://schemas.openxmlformats.org/officeDocument/2006/relationships/slideLayout" Target="../slideLayouts/slideLayout10.xml"/><Relationship Id="rId9" Type="http://schemas.openxmlformats.org/officeDocument/2006/relationships/image" Target="../media/image6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5" Type="http://schemas.openxmlformats.org/officeDocument/2006/relationships/slideLayout" Target="../slideLayouts/slideLayout15.xml"/><Relationship Id="rId4" Type="http://schemas.openxmlformats.org/officeDocument/2006/relationships/slideLayout" Target="../slideLayouts/slideLayout1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heme" Target="../theme/theme5.xml"/><Relationship Id="rId3" Type="http://schemas.openxmlformats.org/officeDocument/2006/relationships/slideLayout" Target="../slideLayouts/slideLayout32.xml"/><Relationship Id="rId7" Type="http://schemas.openxmlformats.org/officeDocument/2006/relationships/slideLayout" Target="../slideLayouts/slideLayout36.xml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5" Type="http://schemas.openxmlformats.org/officeDocument/2006/relationships/slideLayout" Target="../slideLayouts/slideLayout34.xml"/><Relationship Id="rId4" Type="http://schemas.openxmlformats.org/officeDocument/2006/relationships/slideLayout" Target="../slideLayouts/slideLayout3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08.12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4" r:id="rId3"/>
    <p:sldLayoutId id="2147483655" r:id="rId4"/>
    <p:sldLayoutId id="2147483680" r:id="rId5"/>
    <p:sldLayoutId id="2147483809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624000" y="764707"/>
            <a:ext cx="10944000" cy="504055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1" name="Obdélník 10">
            <a:extLst>
              <a:ext uri="{FF2B5EF4-FFF2-40B4-BE49-F238E27FC236}">
                <a16:creationId xmlns:a16="http://schemas.microsoft.com/office/drawing/2014/main" id="{A8B41E4C-7C53-49D1-A6A7-BADC85A98B77}"/>
              </a:ext>
            </a:extLst>
          </p:cNvPr>
          <p:cNvSpPr/>
          <p:nvPr userDrawn="1"/>
        </p:nvSpPr>
        <p:spPr>
          <a:xfrm>
            <a:off x="0" y="6272892"/>
            <a:ext cx="12192000" cy="1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10964C23-7502-44A3-900C-38F4C522DDF7}"/>
              </a:ext>
            </a:extLst>
          </p:cNvPr>
          <p:cNvGrpSpPr/>
          <p:nvPr userDrawn="1"/>
        </p:nvGrpSpPr>
        <p:grpSpPr>
          <a:xfrm>
            <a:off x="439358" y="6370574"/>
            <a:ext cx="2266057" cy="421394"/>
            <a:chOff x="-1238301" y="3808742"/>
            <a:chExt cx="2266057" cy="421394"/>
          </a:xfrm>
        </p:grpSpPr>
        <p:pic>
          <p:nvPicPr>
            <p:cNvPr id="13" name="Obrázek 12">
              <a:extLst>
                <a:ext uri="{FF2B5EF4-FFF2-40B4-BE49-F238E27FC236}">
                  <a16:creationId xmlns:a16="http://schemas.microsoft.com/office/drawing/2014/main" id="{CDBD5828-5EFB-4A41-A797-93B2FC7F04E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9077"/>
            <a:stretch/>
          </p:blipFill>
          <p:spPr>
            <a:xfrm>
              <a:off x="-1238301" y="3808742"/>
              <a:ext cx="612000" cy="410232"/>
            </a:xfrm>
            <a:prstGeom prst="rect">
              <a:avLst/>
            </a:prstGeom>
          </p:spPr>
        </p:pic>
        <p:sp>
          <p:nvSpPr>
            <p:cNvPr id="17" name="TextovéPole 16">
              <a:extLst>
                <a:ext uri="{FF2B5EF4-FFF2-40B4-BE49-F238E27FC236}">
                  <a16:creationId xmlns:a16="http://schemas.microsoft.com/office/drawing/2014/main" id="{772FED2F-5B03-4031-96D4-0C82449E52B0}"/>
                </a:ext>
              </a:extLst>
            </p:cNvPr>
            <p:cNvSpPr txBox="1"/>
            <p:nvPr userDrawn="1"/>
          </p:nvSpPr>
          <p:spPr>
            <a:xfrm>
              <a:off x="-685691" y="3814638"/>
              <a:ext cx="1713447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700" i="0" dirty="0">
                  <a:solidFill>
                    <a:schemeClr val="bg2">
                      <a:lumMod val="10000"/>
                    </a:schemeClr>
                  </a:solidFill>
                </a:rPr>
                <a:t>Evropská</a:t>
              </a:r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 unie</a:t>
              </a:r>
            </a:p>
            <a:p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Evropský sociální fond</a:t>
              </a:r>
            </a:p>
            <a:p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Operační program Zaměstnanost</a:t>
              </a:r>
              <a:endParaRPr lang="cs-CZ" sz="700" i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pic>
        <p:nvPicPr>
          <p:cNvPr id="18" name="Obrázek 17">
            <a:extLst>
              <a:ext uri="{FF2B5EF4-FFF2-40B4-BE49-F238E27FC236}">
                <a16:creationId xmlns:a16="http://schemas.microsoft.com/office/drawing/2014/main" id="{D3A64A3E-5CE1-4373-9488-123DE518BFFB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42168" y="6395690"/>
            <a:ext cx="1563511" cy="360000"/>
          </a:xfrm>
          <a:prstGeom prst="rect">
            <a:avLst/>
          </a:prstGeom>
        </p:spPr>
      </p:pic>
      <p:pic>
        <p:nvPicPr>
          <p:cNvPr id="22" name="Obrázek 21">
            <a:extLst>
              <a:ext uri="{FF2B5EF4-FFF2-40B4-BE49-F238E27FC236}">
                <a16:creationId xmlns:a16="http://schemas.microsoft.com/office/drawing/2014/main" id="{813C5B4A-5521-4F74-8DBB-23F3AD51747E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2432" y="6395690"/>
            <a:ext cx="545828" cy="360000"/>
          </a:xfrm>
          <a:prstGeom prst="rect">
            <a:avLst/>
          </a:prstGeom>
        </p:spPr>
      </p:pic>
      <p:pic>
        <p:nvPicPr>
          <p:cNvPr id="23" name="Grafický objekt 13">
            <a:extLst>
              <a:ext uri="{FF2B5EF4-FFF2-40B4-BE49-F238E27FC236}">
                <a16:creationId xmlns:a16="http://schemas.microsoft.com/office/drawing/2014/main" id="{4CAC0E8A-9294-4088-87D2-D875E5895AD2}"/>
              </a:ext>
            </a:extLst>
          </p:cNvPr>
          <p:cNvPicPr/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125012" y="6472776"/>
            <a:ext cx="2627630" cy="222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13826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b="1" kern="1200">
          <a:solidFill>
            <a:srgbClr val="724F77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2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816">
          <p15:clr>
            <a:srgbClr val="F26B43"/>
          </p15:clr>
        </p15:guide>
        <p15:guide id="2" pos="4899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18257535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1" r:id="rId1"/>
    <p:sldLayoutId id="2147483812" r:id="rId2"/>
    <p:sldLayoutId id="2147483813" r:id="rId3"/>
    <p:sldLayoutId id="2147483814" r:id="rId4"/>
    <p:sldLayoutId id="2147483815" r:id="rId5"/>
    <p:sldLayoutId id="2147483816" r:id="rId6"/>
    <p:sldLayoutId id="2147483817" r:id="rId7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258AF7D2-4ED1-4129-9DE6-4BC40E78BA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84C08E0B-8703-4F4B-A221-FA41C8EDAF1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93CDA1AE-D051-4265-B739-BBADD05EDA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A058D0A-07E9-4A68-88A0-7C25FDBBE4AC}" type="datetimeFigureOut">
              <a:rPr lang="cs-CZ" smtClean="0"/>
              <a:t>08.12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BAA14082-EF73-46FC-8343-A2A35827776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72998947-0E69-43B5-8B05-739CE4C1B8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988323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9" r:id="rId1"/>
    <p:sldLayoutId id="2147483820" r:id="rId2"/>
    <p:sldLayoutId id="2147483821" r:id="rId3"/>
    <p:sldLayoutId id="2147483822" r:id="rId4"/>
    <p:sldLayoutId id="2147483823" r:id="rId5"/>
    <p:sldLayoutId id="2147483824" r:id="rId6"/>
    <p:sldLayoutId id="2147483825" r:id="rId7"/>
    <p:sldLayoutId id="2147483826" r:id="rId8"/>
    <p:sldLayoutId id="2147483827" r:id="rId9"/>
    <p:sldLayoutId id="2147483828" r:id="rId10"/>
    <p:sldLayoutId id="2147483829" r:id="rId11"/>
    <p:sldLayoutId id="214748383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08.12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9151522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2" r:id="rId1"/>
    <p:sldLayoutId id="2147483833" r:id="rId2"/>
    <p:sldLayoutId id="2147483834" r:id="rId3"/>
    <p:sldLayoutId id="2147483835" r:id="rId4"/>
    <p:sldLayoutId id="2147483836" r:id="rId5"/>
    <p:sldLayoutId id="2147483837" r:id="rId6"/>
    <p:sldLayoutId id="2147483838" r:id="rId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.xml"/><Relationship Id="rId1" Type="http://schemas.openxmlformats.org/officeDocument/2006/relationships/tags" Target="../tags/tag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7" Type="http://schemas.openxmlformats.org/officeDocument/2006/relationships/chart" Target="../charts/chart3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notesSlide" Target="../notesSlides/notesSlide3.xml"/><Relationship Id="rId5" Type="http://schemas.openxmlformats.org/officeDocument/2006/relationships/slideLayout" Target="../slideLayouts/slideLayout19.xml"/><Relationship Id="rId4" Type="http://schemas.openxmlformats.org/officeDocument/2006/relationships/tags" Target="../tags/tag29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7" Type="http://schemas.openxmlformats.org/officeDocument/2006/relationships/chart" Target="../charts/chart4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notesSlide" Target="../notesSlides/notesSlide4.xml"/><Relationship Id="rId5" Type="http://schemas.openxmlformats.org/officeDocument/2006/relationships/slideLayout" Target="../slideLayouts/slideLayout19.xml"/><Relationship Id="rId4" Type="http://schemas.openxmlformats.org/officeDocument/2006/relationships/tags" Target="../tags/tag3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5.xml"/><Relationship Id="rId1" Type="http://schemas.openxmlformats.org/officeDocument/2006/relationships/tags" Target="../tags/tag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4" Type="http://schemas.openxmlformats.org/officeDocument/2006/relationships/image" Target="../media/image17.emf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tags" Target="../tags/tag43.xml"/><Relationship Id="rId13" Type="http://schemas.openxmlformats.org/officeDocument/2006/relationships/chart" Target="../charts/chart5.xml"/><Relationship Id="rId3" Type="http://schemas.openxmlformats.org/officeDocument/2006/relationships/tags" Target="../tags/tag38.xml"/><Relationship Id="rId7" Type="http://schemas.openxmlformats.org/officeDocument/2006/relationships/tags" Target="../tags/tag42.xml"/><Relationship Id="rId12" Type="http://schemas.openxmlformats.org/officeDocument/2006/relationships/slideLayout" Target="../slideLayouts/slideLayout6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tags" Target="../tags/tag41.xml"/><Relationship Id="rId11" Type="http://schemas.openxmlformats.org/officeDocument/2006/relationships/tags" Target="../tags/tag46.xml"/><Relationship Id="rId5" Type="http://schemas.openxmlformats.org/officeDocument/2006/relationships/tags" Target="../tags/tag40.xml"/><Relationship Id="rId10" Type="http://schemas.openxmlformats.org/officeDocument/2006/relationships/tags" Target="../tags/tag45.xml"/><Relationship Id="rId4" Type="http://schemas.openxmlformats.org/officeDocument/2006/relationships/tags" Target="../tags/tag39.xml"/><Relationship Id="rId9" Type="http://schemas.openxmlformats.org/officeDocument/2006/relationships/tags" Target="../tags/tag44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tags" Target="../tags/tag54.xml"/><Relationship Id="rId13" Type="http://schemas.openxmlformats.org/officeDocument/2006/relationships/slideLayout" Target="../slideLayouts/slideLayout6.xml"/><Relationship Id="rId3" Type="http://schemas.openxmlformats.org/officeDocument/2006/relationships/tags" Target="../tags/tag49.xml"/><Relationship Id="rId7" Type="http://schemas.openxmlformats.org/officeDocument/2006/relationships/tags" Target="../tags/tag53.xml"/><Relationship Id="rId12" Type="http://schemas.openxmlformats.org/officeDocument/2006/relationships/tags" Target="../tags/tag58.xml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6" Type="http://schemas.openxmlformats.org/officeDocument/2006/relationships/tags" Target="../tags/tag52.xml"/><Relationship Id="rId11" Type="http://schemas.openxmlformats.org/officeDocument/2006/relationships/tags" Target="../tags/tag57.xml"/><Relationship Id="rId5" Type="http://schemas.openxmlformats.org/officeDocument/2006/relationships/tags" Target="../tags/tag51.xml"/><Relationship Id="rId10" Type="http://schemas.openxmlformats.org/officeDocument/2006/relationships/tags" Target="../tags/tag56.xml"/><Relationship Id="rId4" Type="http://schemas.openxmlformats.org/officeDocument/2006/relationships/tags" Target="../tags/tag50.xml"/><Relationship Id="rId9" Type="http://schemas.openxmlformats.org/officeDocument/2006/relationships/tags" Target="../tags/tag55.xml"/><Relationship Id="rId14" Type="http://schemas.openxmlformats.org/officeDocument/2006/relationships/chart" Target="../charts/chart6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tags" Target="../tags/tag66.xml"/><Relationship Id="rId3" Type="http://schemas.openxmlformats.org/officeDocument/2006/relationships/tags" Target="../tags/tag61.xml"/><Relationship Id="rId7" Type="http://schemas.openxmlformats.org/officeDocument/2006/relationships/tags" Target="../tags/tag65.xml"/><Relationship Id="rId12" Type="http://schemas.openxmlformats.org/officeDocument/2006/relationships/chart" Target="../charts/chart7.xml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6" Type="http://schemas.openxmlformats.org/officeDocument/2006/relationships/tags" Target="../tags/tag64.xml"/><Relationship Id="rId11" Type="http://schemas.openxmlformats.org/officeDocument/2006/relationships/slideLayout" Target="../slideLayouts/slideLayout6.xml"/><Relationship Id="rId5" Type="http://schemas.openxmlformats.org/officeDocument/2006/relationships/tags" Target="../tags/tag63.xml"/><Relationship Id="rId10" Type="http://schemas.openxmlformats.org/officeDocument/2006/relationships/tags" Target="../tags/tag68.xml"/><Relationship Id="rId4" Type="http://schemas.openxmlformats.org/officeDocument/2006/relationships/tags" Target="../tags/tag62.xml"/><Relationship Id="rId9" Type="http://schemas.openxmlformats.org/officeDocument/2006/relationships/tags" Target="../tags/tag67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tags" Target="../tags/tag76.xml"/><Relationship Id="rId13" Type="http://schemas.openxmlformats.org/officeDocument/2006/relationships/chart" Target="../charts/chart8.xml"/><Relationship Id="rId3" Type="http://schemas.openxmlformats.org/officeDocument/2006/relationships/tags" Target="../tags/tag71.xml"/><Relationship Id="rId7" Type="http://schemas.openxmlformats.org/officeDocument/2006/relationships/tags" Target="../tags/tag75.xml"/><Relationship Id="rId12" Type="http://schemas.openxmlformats.org/officeDocument/2006/relationships/slideLayout" Target="../slideLayouts/slideLayout6.xml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6" Type="http://schemas.openxmlformats.org/officeDocument/2006/relationships/tags" Target="../tags/tag74.xml"/><Relationship Id="rId11" Type="http://schemas.openxmlformats.org/officeDocument/2006/relationships/tags" Target="../tags/tag79.xml"/><Relationship Id="rId5" Type="http://schemas.openxmlformats.org/officeDocument/2006/relationships/tags" Target="../tags/tag73.xml"/><Relationship Id="rId10" Type="http://schemas.openxmlformats.org/officeDocument/2006/relationships/tags" Target="../tags/tag78.xml"/><Relationship Id="rId4" Type="http://schemas.openxmlformats.org/officeDocument/2006/relationships/tags" Target="../tags/tag72.xml"/><Relationship Id="rId9" Type="http://schemas.openxmlformats.org/officeDocument/2006/relationships/tags" Target="../tags/tag77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tags" Target="../tags/tag87.xml"/><Relationship Id="rId3" Type="http://schemas.openxmlformats.org/officeDocument/2006/relationships/tags" Target="../tags/tag82.xml"/><Relationship Id="rId7" Type="http://schemas.openxmlformats.org/officeDocument/2006/relationships/tags" Target="../tags/tag86.xml"/><Relationship Id="rId12" Type="http://schemas.openxmlformats.org/officeDocument/2006/relationships/chart" Target="../charts/chart9.xml"/><Relationship Id="rId2" Type="http://schemas.openxmlformats.org/officeDocument/2006/relationships/tags" Target="../tags/tag81.xml"/><Relationship Id="rId1" Type="http://schemas.openxmlformats.org/officeDocument/2006/relationships/tags" Target="../tags/tag80.xml"/><Relationship Id="rId6" Type="http://schemas.openxmlformats.org/officeDocument/2006/relationships/tags" Target="../tags/tag85.xml"/><Relationship Id="rId11" Type="http://schemas.openxmlformats.org/officeDocument/2006/relationships/slideLayout" Target="../slideLayouts/slideLayout34.xml"/><Relationship Id="rId5" Type="http://schemas.openxmlformats.org/officeDocument/2006/relationships/tags" Target="../tags/tag84.xml"/><Relationship Id="rId10" Type="http://schemas.openxmlformats.org/officeDocument/2006/relationships/tags" Target="../tags/tag89.xml"/><Relationship Id="rId4" Type="http://schemas.openxmlformats.org/officeDocument/2006/relationships/tags" Target="../tags/tag83.xml"/><Relationship Id="rId9" Type="http://schemas.openxmlformats.org/officeDocument/2006/relationships/tags" Target="../tags/tag88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tags" Target="../tags/tag97.xml"/><Relationship Id="rId3" Type="http://schemas.openxmlformats.org/officeDocument/2006/relationships/tags" Target="../tags/tag92.xml"/><Relationship Id="rId7" Type="http://schemas.openxmlformats.org/officeDocument/2006/relationships/tags" Target="../tags/tag96.xml"/><Relationship Id="rId12" Type="http://schemas.openxmlformats.org/officeDocument/2006/relationships/chart" Target="../charts/chart10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tags" Target="../tags/tag95.xml"/><Relationship Id="rId11" Type="http://schemas.openxmlformats.org/officeDocument/2006/relationships/slideLayout" Target="../slideLayouts/slideLayout34.xml"/><Relationship Id="rId5" Type="http://schemas.openxmlformats.org/officeDocument/2006/relationships/tags" Target="../tags/tag94.xml"/><Relationship Id="rId10" Type="http://schemas.openxmlformats.org/officeDocument/2006/relationships/tags" Target="../tags/tag99.xml"/><Relationship Id="rId4" Type="http://schemas.openxmlformats.org/officeDocument/2006/relationships/tags" Target="../tags/tag93.xml"/><Relationship Id="rId9" Type="http://schemas.openxmlformats.org/officeDocument/2006/relationships/tags" Target="../tags/tag9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7.xml"/><Relationship Id="rId1" Type="http://schemas.openxmlformats.org/officeDocument/2006/relationships/tags" Target="../tags/tag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notesSlide" Target="../notesSlides/notesSlide2.xml"/><Relationship Id="rId5" Type="http://schemas.openxmlformats.org/officeDocument/2006/relationships/slideLayout" Target="../slideLayouts/slideLayout15.xml"/><Relationship Id="rId4" Type="http://schemas.openxmlformats.org/officeDocument/2006/relationships/tags" Target="../tags/tag1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1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2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2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5.xml"/><Relationship Id="rId1" Type="http://schemas.openxmlformats.org/officeDocument/2006/relationships/tags" Target="../tags/tag2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143346" y="3828910"/>
            <a:ext cx="11905307" cy="2236911"/>
          </a:xfrm>
        </p:spPr>
        <p:txBody>
          <a:bodyPr>
            <a:normAutofit lnSpcReduction="10000"/>
          </a:bodyPr>
          <a:lstStyle/>
          <a:p>
            <a:r>
              <a:rPr lang="cs-CZ" sz="5200" b="1" dirty="0"/>
              <a:t>Variantní predikce možného vývoje epidemie na podzim 2021</a:t>
            </a:r>
          </a:p>
          <a:p>
            <a:r>
              <a:rPr lang="cs-CZ" sz="5200" b="1" i="1" dirty="0"/>
              <a:t>Vypracováno k 5</a:t>
            </a:r>
            <a:r>
              <a:rPr lang="en-US" sz="5200" b="1" i="1" dirty="0"/>
              <a:t>.</a:t>
            </a:r>
            <a:r>
              <a:rPr lang="cs-CZ" sz="5200" b="1" i="1" dirty="0"/>
              <a:t> </a:t>
            </a:r>
            <a:r>
              <a:rPr lang="en-US" sz="5200" b="1" i="1" dirty="0"/>
              <a:t>1</a:t>
            </a:r>
            <a:r>
              <a:rPr lang="cs-CZ" sz="5200" b="1" i="1" dirty="0"/>
              <a:t>2. 2021</a:t>
            </a:r>
            <a:endParaRPr lang="cs-CZ" sz="4200" i="1" dirty="0"/>
          </a:p>
        </p:txBody>
      </p:sp>
    </p:spTree>
    <p:extLst>
      <p:ext uri="{BB962C8B-B14F-4D97-AF65-F5344CB8AC3E}">
        <p14:creationId xmlns:p14="http://schemas.microsoft.com/office/powerpoint/2010/main" val="230074663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/>
          <p:cNvSpPr/>
          <p:nvPr/>
        </p:nvSpPr>
        <p:spPr>
          <a:xfrm>
            <a:off x="195887" y="186064"/>
            <a:ext cx="11824663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louhodobé predikce vychází z původního modelu SEIR, který byl pro epidemii COVID-19 v ČR adaptován na počátku dubna 2020. Původní model generuje p</a:t>
            </a:r>
            <a:r>
              <a:rPr kumimoji="0" lang="cs-CZ" sz="1400" b="0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dikce</a:t>
            </a:r>
            <a:r>
              <a:rPr kumimoji="0" lang="cs-CZ" sz="140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ro rizikový vývoj vyvolaný nárůstem rizikových kontaktů nebo zvýšením reprodukční dynamiky nákazy (virtuální efekt případného opětovného uvolnění nebo efekt šíření nakažlivějších forem viru). Nové verze modelu z února 2021 zahrnují i efekt vakcinace (model SEIRV) a umožňují pracovat s rizikem nákazy po vakcinaci při šíření nakažlivějších forem viru. </a:t>
            </a:r>
          </a:p>
        </p:txBody>
      </p:sp>
      <p:sp>
        <p:nvSpPr>
          <p:cNvPr id="5" name="Šipka dolů 4"/>
          <p:cNvSpPr/>
          <p:nvPr/>
        </p:nvSpPr>
        <p:spPr>
          <a:xfrm>
            <a:off x="5282533" y="6248477"/>
            <a:ext cx="1626932" cy="42345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Obdélník 3"/>
          <p:cNvSpPr/>
          <p:nvPr/>
        </p:nvSpPr>
        <p:spPr>
          <a:xfrm>
            <a:off x="339387" y="1947354"/>
            <a:ext cx="11537661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del byl na počátku roku 2021 doplněn o komponentu Vakcinace (Model SEIR</a:t>
            </a:r>
            <a:r>
              <a:rPr kumimoji="0" lang="cs-CZ" sz="2000" b="1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</a:t>
            </a:r>
            <a:r>
              <a:rPr kumimoji="0" lang="cs-CZ" sz="2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), tedy stav po očkování, přičemž predikce pracují s různě nastavitelným ochranným efektem vakcinac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 dále s pravděpodobností ztráty ochrany v čase nebo v důsledku šíření nových nakažlivějších variant viru. </a:t>
            </a:r>
          </a:p>
        </p:txBody>
      </p:sp>
      <p:sp>
        <p:nvSpPr>
          <p:cNvPr id="6" name="Obdélník 5"/>
          <p:cNvSpPr/>
          <p:nvPr/>
        </p:nvSpPr>
        <p:spPr>
          <a:xfrm>
            <a:off x="195887" y="3587208"/>
            <a:ext cx="11606471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dely uvažují věkově specifické počty vakcinovaných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le reálných dat ISIN a dle nich pracují s projekcí počtu očkovaných pro budoucí simulace. Jedinec dosáhne ochrany před nákazou až s časovým odstupem po druhé dávce (pomalé scénáře) nebo při první dávce (rychlé scénáře), přičemž se předpokládá i ochrana před možností přenášet infekci. Jedinci přecházejí ze stavů S a R proporčně do stavu V (očkovaní jsou i jedinci s prodělanou infekcí v minulosti – tyto skupiny nejsou vzájemně </a:t>
            </a:r>
            <a:r>
              <a:rPr kumimoji="0" lang="cs-CZ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isjuktní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). Různé scénáře následně simulují podmínky šíření Delta varianty viru (simulace byla zahájena pro významný start šíření po 20.6. 2021). Navazující pravděpodobnostní stavové modely predikují z vývoje prevalenční zátěže v populaci riziko dopadu na zátěž nemocnic – do těchto modelů vstupují i rizikové faktory související se zranitelností různých skupin populace. </a:t>
            </a:r>
          </a:p>
        </p:txBody>
      </p:sp>
      <p:sp>
        <p:nvSpPr>
          <p:cNvPr id="7" name="Šipka dolů 4">
            <a:extLst>
              <a:ext uri="{FF2B5EF4-FFF2-40B4-BE49-F238E27FC236}">
                <a16:creationId xmlns:a16="http://schemas.microsoft.com/office/drawing/2014/main" id="{902FF170-127D-4BBB-9AB4-F9DB6E719F36}"/>
              </a:ext>
            </a:extLst>
          </p:cNvPr>
          <p:cNvSpPr/>
          <p:nvPr/>
        </p:nvSpPr>
        <p:spPr>
          <a:xfrm>
            <a:off x="5282533" y="1277321"/>
            <a:ext cx="1626932" cy="42345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944626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ovéPole 23">
            <a:extLst>
              <a:ext uri="{FF2B5EF4-FFF2-40B4-BE49-F238E27FC236}">
                <a16:creationId xmlns:a16="http://schemas.microsoft.com/office/drawing/2014/main" id="{8A6A1759-77AD-4B7F-98D8-D6E46F18384F}"/>
              </a:ext>
            </a:extLst>
          </p:cNvPr>
          <p:cNvSpPr txBox="1"/>
          <p:nvPr/>
        </p:nvSpPr>
        <p:spPr>
          <a:xfrm>
            <a:off x="1400971" y="151570"/>
            <a:ext cx="9229366" cy="707886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chéma stavového modelu SEIR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pro dlouhodobé simulace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b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en-US" sz="20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 </a:t>
            </a:r>
            <a:r>
              <a:rPr kumimoji="0" lang="en-US" sz="2000" b="1" i="0" u="sng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opadem</a:t>
            </a:r>
            <a:r>
              <a:rPr kumimoji="0" lang="en-US" sz="20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o</a:t>
            </a:r>
            <a:r>
              <a:rPr kumimoji="0" lang="cs-CZ" sz="2000" b="1" i="0" u="sng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čkování</a:t>
            </a:r>
            <a:endParaRPr kumimoji="0" lang="cs-CZ" sz="22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Obdélník 17">
            <a:extLst>
              <a:ext uri="{FF2B5EF4-FFF2-40B4-BE49-F238E27FC236}">
                <a16:creationId xmlns:a16="http://schemas.microsoft.com/office/drawing/2014/main" id="{2B04E69E-696B-426D-92D2-95AD65B197D7}"/>
              </a:ext>
            </a:extLst>
          </p:cNvPr>
          <p:cNvSpPr/>
          <p:nvPr/>
        </p:nvSpPr>
        <p:spPr>
          <a:xfrm>
            <a:off x="1120795" y="3024717"/>
            <a:ext cx="1909483" cy="1013010"/>
          </a:xfrm>
          <a:prstGeom prst="rect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chylní jedinci</a:t>
            </a:r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D063A768-01D3-4A56-8BBA-28DED35E1CE0}"/>
              </a:ext>
            </a:extLst>
          </p:cNvPr>
          <p:cNvSpPr/>
          <p:nvPr/>
        </p:nvSpPr>
        <p:spPr>
          <a:xfrm>
            <a:off x="3862500" y="3024717"/>
            <a:ext cx="1909483" cy="1013010"/>
          </a:xfrm>
          <a:prstGeom prst="rect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xponovaní jedinci</a:t>
            </a:r>
          </a:p>
        </p:txBody>
      </p:sp>
      <p:sp>
        <p:nvSpPr>
          <p:cNvPr id="20" name="Obdélník 19">
            <a:extLst>
              <a:ext uri="{FF2B5EF4-FFF2-40B4-BE49-F238E27FC236}">
                <a16:creationId xmlns:a16="http://schemas.microsoft.com/office/drawing/2014/main" id="{BADCA929-8F51-4A46-84F0-4EE1E7912B1C}"/>
              </a:ext>
            </a:extLst>
          </p:cNvPr>
          <p:cNvSpPr/>
          <p:nvPr/>
        </p:nvSpPr>
        <p:spPr>
          <a:xfrm>
            <a:off x="6604205" y="2003389"/>
            <a:ext cx="1909483" cy="1013010"/>
          </a:xfrm>
          <a:prstGeom prst="rect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</a:t>
            </a:r>
            <a:r>
              <a:rPr kumimoji="0" lang="cs-CZ" sz="2400" b="0" i="0" u="none" strike="noStrike" kern="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fekční jedinci</a:t>
            </a:r>
            <a:b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říznaky</a:t>
            </a:r>
          </a:p>
        </p:txBody>
      </p:sp>
      <p:sp>
        <p:nvSpPr>
          <p:cNvPr id="21" name="Obdélník 20">
            <a:extLst>
              <a:ext uri="{FF2B5EF4-FFF2-40B4-BE49-F238E27FC236}">
                <a16:creationId xmlns:a16="http://schemas.microsoft.com/office/drawing/2014/main" id="{6AD42F47-49DC-4AF9-9274-1EA0FEA16506}"/>
              </a:ext>
            </a:extLst>
          </p:cNvPr>
          <p:cNvSpPr/>
          <p:nvPr/>
        </p:nvSpPr>
        <p:spPr>
          <a:xfrm>
            <a:off x="9477389" y="3015752"/>
            <a:ext cx="1909483" cy="1013010"/>
          </a:xfrm>
          <a:prstGeom prst="rect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zolovaní jedinci</a:t>
            </a:r>
          </a:p>
        </p:txBody>
      </p:sp>
      <p:sp>
        <p:nvSpPr>
          <p:cNvPr id="22" name="Šipka: doprava 44">
            <a:extLst>
              <a:ext uri="{FF2B5EF4-FFF2-40B4-BE49-F238E27FC236}">
                <a16:creationId xmlns:a16="http://schemas.microsoft.com/office/drawing/2014/main" id="{4C13D826-2505-4EE1-82AE-F4AB7726E1B5}"/>
              </a:ext>
            </a:extLst>
          </p:cNvPr>
          <p:cNvSpPr/>
          <p:nvPr/>
        </p:nvSpPr>
        <p:spPr>
          <a:xfrm>
            <a:off x="3172965" y="3347445"/>
            <a:ext cx="546847" cy="367553"/>
          </a:xfrm>
          <a:prstGeom prst="rightArrow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Obdélník 24">
            <a:extLst>
              <a:ext uri="{FF2B5EF4-FFF2-40B4-BE49-F238E27FC236}">
                <a16:creationId xmlns:a16="http://schemas.microsoft.com/office/drawing/2014/main" id="{B14B0F29-42EE-4449-8FA0-2FFCC0E7A5D6}"/>
              </a:ext>
            </a:extLst>
          </p:cNvPr>
          <p:cNvSpPr/>
          <p:nvPr/>
        </p:nvSpPr>
        <p:spPr>
          <a:xfrm>
            <a:off x="6604205" y="4050525"/>
            <a:ext cx="1909483" cy="1013010"/>
          </a:xfrm>
          <a:prstGeom prst="rect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</a:t>
            </a:r>
            <a:r>
              <a:rPr kumimoji="0" lang="cs-CZ" sz="2400" b="0" i="0" u="none" strike="noStrike" kern="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fekční jedinci</a:t>
            </a:r>
            <a:b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příznakoví</a:t>
            </a:r>
          </a:p>
        </p:txBody>
      </p:sp>
      <p:sp>
        <p:nvSpPr>
          <p:cNvPr id="26" name="Šipka: doprava 46">
            <a:extLst>
              <a:ext uri="{FF2B5EF4-FFF2-40B4-BE49-F238E27FC236}">
                <a16:creationId xmlns:a16="http://schemas.microsoft.com/office/drawing/2014/main" id="{D213C4CF-884A-47FE-9932-16FB105C4037}"/>
              </a:ext>
            </a:extLst>
          </p:cNvPr>
          <p:cNvSpPr/>
          <p:nvPr/>
        </p:nvSpPr>
        <p:spPr>
          <a:xfrm>
            <a:off x="5865430" y="2329952"/>
            <a:ext cx="738776" cy="367553"/>
          </a:xfrm>
          <a:prstGeom prst="rightArrow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Šipka: doprava 47">
            <a:extLst>
              <a:ext uri="{FF2B5EF4-FFF2-40B4-BE49-F238E27FC236}">
                <a16:creationId xmlns:a16="http://schemas.microsoft.com/office/drawing/2014/main" id="{608B85F7-5E22-4599-8F4E-6A61635A808E}"/>
              </a:ext>
            </a:extLst>
          </p:cNvPr>
          <p:cNvSpPr/>
          <p:nvPr/>
        </p:nvSpPr>
        <p:spPr>
          <a:xfrm>
            <a:off x="5865428" y="4369419"/>
            <a:ext cx="738777" cy="367553"/>
          </a:xfrm>
          <a:prstGeom prst="rightArrow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Obdélník 27">
            <a:extLst>
              <a:ext uri="{FF2B5EF4-FFF2-40B4-BE49-F238E27FC236}">
                <a16:creationId xmlns:a16="http://schemas.microsoft.com/office/drawing/2014/main" id="{A1F9FDF5-109A-473A-86F7-AE70B59EEBF0}"/>
              </a:ext>
            </a:extLst>
          </p:cNvPr>
          <p:cNvSpPr/>
          <p:nvPr/>
        </p:nvSpPr>
        <p:spPr>
          <a:xfrm>
            <a:off x="5865429" y="2433045"/>
            <a:ext cx="191929" cy="2214283"/>
          </a:xfrm>
          <a:prstGeom prst="rect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Šipka: doprava 49">
            <a:extLst>
              <a:ext uri="{FF2B5EF4-FFF2-40B4-BE49-F238E27FC236}">
                <a16:creationId xmlns:a16="http://schemas.microsoft.com/office/drawing/2014/main" id="{10587047-838E-48F4-9F92-8CBF3AB25FF0}"/>
              </a:ext>
            </a:extLst>
          </p:cNvPr>
          <p:cNvSpPr/>
          <p:nvPr/>
        </p:nvSpPr>
        <p:spPr>
          <a:xfrm>
            <a:off x="8648964" y="3304863"/>
            <a:ext cx="738777" cy="367553"/>
          </a:xfrm>
          <a:prstGeom prst="rightArrow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" name="Obdélník 30">
            <a:extLst>
              <a:ext uri="{FF2B5EF4-FFF2-40B4-BE49-F238E27FC236}">
                <a16:creationId xmlns:a16="http://schemas.microsoft.com/office/drawing/2014/main" id="{054974A4-DA60-4490-9AAD-3973AAACF2C2}"/>
              </a:ext>
            </a:extLst>
          </p:cNvPr>
          <p:cNvSpPr/>
          <p:nvPr/>
        </p:nvSpPr>
        <p:spPr>
          <a:xfrm>
            <a:off x="8648965" y="2433045"/>
            <a:ext cx="191929" cy="2214283"/>
          </a:xfrm>
          <a:prstGeom prst="rect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2" name="TextovéPole 31">
            <a:extLst>
              <a:ext uri="{FF2B5EF4-FFF2-40B4-BE49-F238E27FC236}">
                <a16:creationId xmlns:a16="http://schemas.microsoft.com/office/drawing/2014/main" id="{FE7E001D-0B75-40E0-AAE6-7132D90F7EA2}"/>
              </a:ext>
            </a:extLst>
          </p:cNvPr>
          <p:cNvSpPr txBox="1"/>
          <p:nvPr/>
        </p:nvSpPr>
        <p:spPr>
          <a:xfrm>
            <a:off x="767554" y="1744448"/>
            <a:ext cx="293513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fekčnost onemocnění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četnost kontaktů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díl infekčních jedinců </a:t>
            </a:r>
            <a:b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populaci</a:t>
            </a: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9F44768C-5FDA-4214-A558-285F9A9BD9CE}"/>
              </a:ext>
            </a:extLst>
          </p:cNvPr>
          <p:cNvSpPr txBox="1"/>
          <p:nvPr/>
        </p:nvSpPr>
        <p:spPr>
          <a:xfrm>
            <a:off x="3525640" y="1977982"/>
            <a:ext cx="293513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élka latentního období</a:t>
            </a:r>
            <a:b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po nákaze, před infekčností)</a:t>
            </a:r>
          </a:p>
        </p:txBody>
      </p:sp>
      <p:sp>
        <p:nvSpPr>
          <p:cNvPr id="34" name="TextovéPole 33">
            <a:extLst>
              <a:ext uri="{FF2B5EF4-FFF2-40B4-BE49-F238E27FC236}">
                <a16:creationId xmlns:a16="http://schemas.microsoft.com/office/drawing/2014/main" id="{F915E3A6-2C83-4C2A-9CE0-5284C9CD8F0D}"/>
              </a:ext>
            </a:extLst>
          </p:cNvPr>
          <p:cNvSpPr txBox="1"/>
          <p:nvPr/>
        </p:nvSpPr>
        <p:spPr>
          <a:xfrm>
            <a:off x="6364450" y="3069556"/>
            <a:ext cx="232485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díl bezpříznakových jedinců</a:t>
            </a:r>
          </a:p>
        </p:txBody>
      </p:sp>
      <p:sp>
        <p:nvSpPr>
          <p:cNvPr id="36" name="TextovéPole 35">
            <a:extLst>
              <a:ext uri="{FF2B5EF4-FFF2-40B4-BE49-F238E27FC236}">
                <a16:creationId xmlns:a16="http://schemas.microsoft.com/office/drawing/2014/main" id="{EC9FA024-5E59-4474-9F8F-D201213190EE}"/>
              </a:ext>
            </a:extLst>
          </p:cNvPr>
          <p:cNvSpPr txBox="1"/>
          <p:nvPr/>
        </p:nvSpPr>
        <p:spPr>
          <a:xfrm>
            <a:off x="8800559" y="2021447"/>
            <a:ext cx="232485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élka infekčního období/rychlost izolace</a:t>
            </a:r>
          </a:p>
        </p:txBody>
      </p:sp>
      <p:sp>
        <p:nvSpPr>
          <p:cNvPr id="37" name="TextovéPole 36">
            <a:extLst>
              <a:ext uri="{FF2B5EF4-FFF2-40B4-BE49-F238E27FC236}">
                <a16:creationId xmlns:a16="http://schemas.microsoft.com/office/drawing/2014/main" id="{03E6A01B-C785-4E5E-A264-0E817822A778}"/>
              </a:ext>
            </a:extLst>
          </p:cNvPr>
          <p:cNvSpPr txBox="1"/>
          <p:nvPr/>
        </p:nvSpPr>
        <p:spPr>
          <a:xfrm>
            <a:off x="6217968" y="1246572"/>
            <a:ext cx="50740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APOČÍTÁNÍ MEZI PŘÍPADY (JEN SYMPTOMATIČTÍ)</a:t>
            </a:r>
          </a:p>
        </p:txBody>
      </p:sp>
      <p:sp>
        <p:nvSpPr>
          <p:cNvPr id="38" name="Šipka: dolů 56">
            <a:extLst>
              <a:ext uri="{FF2B5EF4-FFF2-40B4-BE49-F238E27FC236}">
                <a16:creationId xmlns:a16="http://schemas.microsoft.com/office/drawing/2014/main" id="{782C6E6F-542D-452F-93BB-94B4C05288A8}"/>
              </a:ext>
            </a:extLst>
          </p:cNvPr>
          <p:cNvSpPr/>
          <p:nvPr/>
        </p:nvSpPr>
        <p:spPr>
          <a:xfrm>
            <a:off x="8547297" y="1653894"/>
            <a:ext cx="415367" cy="367553"/>
          </a:xfrm>
          <a:prstGeom prst="downArrow">
            <a:avLst/>
          </a:prstGeom>
          <a:solidFill>
            <a:srgbClr val="D3114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9" name="Obdélník 38">
            <a:extLst>
              <a:ext uri="{FF2B5EF4-FFF2-40B4-BE49-F238E27FC236}">
                <a16:creationId xmlns:a16="http://schemas.microsoft.com/office/drawing/2014/main" id="{DDCAC9A8-B998-4990-8433-32D07C5EAEB7}"/>
              </a:ext>
            </a:extLst>
          </p:cNvPr>
          <p:cNvSpPr/>
          <p:nvPr/>
        </p:nvSpPr>
        <p:spPr>
          <a:xfrm>
            <a:off x="9477389" y="5252351"/>
            <a:ext cx="1909483" cy="1013010"/>
          </a:xfrm>
          <a:prstGeom prst="rect">
            <a:avLst/>
          </a:prstGeom>
          <a:solidFill>
            <a:srgbClr val="33CC3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čkovaní jedinci</a:t>
            </a:r>
          </a:p>
        </p:txBody>
      </p:sp>
      <p:sp>
        <p:nvSpPr>
          <p:cNvPr id="40" name="Šipka: doprava 20">
            <a:extLst>
              <a:ext uri="{FF2B5EF4-FFF2-40B4-BE49-F238E27FC236}">
                <a16:creationId xmlns:a16="http://schemas.microsoft.com/office/drawing/2014/main" id="{A41BEF73-7A63-410D-95FD-7BD1E2D4B038}"/>
              </a:ext>
            </a:extLst>
          </p:cNvPr>
          <p:cNvSpPr/>
          <p:nvPr/>
        </p:nvSpPr>
        <p:spPr>
          <a:xfrm>
            <a:off x="1842932" y="5524772"/>
            <a:ext cx="7525177" cy="367553"/>
          </a:xfrm>
          <a:prstGeom prst="rightArrow">
            <a:avLst/>
          </a:prstGeom>
          <a:solidFill>
            <a:srgbClr val="33CC3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1" name="Šipka: doprava 21">
            <a:extLst>
              <a:ext uri="{FF2B5EF4-FFF2-40B4-BE49-F238E27FC236}">
                <a16:creationId xmlns:a16="http://schemas.microsoft.com/office/drawing/2014/main" id="{31B8BC44-7A01-4824-9AED-DF040E9F9BA2}"/>
              </a:ext>
            </a:extLst>
          </p:cNvPr>
          <p:cNvSpPr/>
          <p:nvPr/>
        </p:nvSpPr>
        <p:spPr>
          <a:xfrm rot="5400000">
            <a:off x="9925624" y="4438369"/>
            <a:ext cx="1013009" cy="367553"/>
          </a:xfrm>
          <a:prstGeom prst="rightArrow">
            <a:avLst/>
          </a:prstGeom>
          <a:solidFill>
            <a:srgbClr val="33CC3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2" name="Obdélník 41">
            <a:extLst>
              <a:ext uri="{FF2B5EF4-FFF2-40B4-BE49-F238E27FC236}">
                <a16:creationId xmlns:a16="http://schemas.microsoft.com/office/drawing/2014/main" id="{74FC45F5-50A9-43F3-8CE1-BEE500BD193E}"/>
              </a:ext>
            </a:extLst>
          </p:cNvPr>
          <p:cNvSpPr/>
          <p:nvPr/>
        </p:nvSpPr>
        <p:spPr>
          <a:xfrm>
            <a:off x="1838778" y="4115641"/>
            <a:ext cx="191929" cy="1672140"/>
          </a:xfrm>
          <a:prstGeom prst="rect">
            <a:avLst/>
          </a:prstGeom>
          <a:solidFill>
            <a:srgbClr val="33CC3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3" name="TextovéPole 42">
            <a:extLst>
              <a:ext uri="{FF2B5EF4-FFF2-40B4-BE49-F238E27FC236}">
                <a16:creationId xmlns:a16="http://schemas.microsoft.com/office/drawing/2014/main" id="{59AD60A5-4AFD-463C-8D2A-104E5B3F5610}"/>
              </a:ext>
            </a:extLst>
          </p:cNvPr>
          <p:cNvSpPr txBox="1"/>
          <p:nvPr/>
        </p:nvSpPr>
        <p:spPr>
          <a:xfrm>
            <a:off x="2108375" y="5161209"/>
            <a:ext cx="29351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očkovaných jedinců</a:t>
            </a:r>
          </a:p>
        </p:txBody>
      </p:sp>
    </p:spTree>
    <p:extLst>
      <p:ext uri="{BB962C8B-B14F-4D97-AF65-F5344CB8AC3E}">
        <p14:creationId xmlns:p14="http://schemas.microsoft.com/office/powerpoint/2010/main" val="378762216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2">
            <a:extLst>
              <a:ext uri="{FF2B5EF4-FFF2-40B4-BE49-F238E27FC236}">
                <a16:creationId xmlns:a16="http://schemas.microsoft.com/office/drawing/2014/main" id="{FFFEC489-9795-4E1E-9719-513139DAB8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101600"/>
            <a:ext cx="6507332" cy="1305016"/>
          </a:xfrm>
        </p:spPr>
        <p:txBody>
          <a:bodyPr/>
          <a:lstStyle/>
          <a:p>
            <a:r>
              <a:rPr lang="cs-CZ" sz="2400" b="1" dirty="0">
                <a:latin typeface="Arial" panose="020B0604020202020204" pitchFamily="34" charset="0"/>
                <a:cs typeface="Arial" panose="020B0604020202020204" pitchFamily="34" charset="0"/>
              </a:rPr>
              <a:t>Scénáře pro dlouhodobé simulace zahrnující efekt vakcinace </a:t>
            </a:r>
          </a:p>
        </p:txBody>
      </p:sp>
      <p:sp>
        <p:nvSpPr>
          <p:cNvPr id="7" name="Zástupný obsah 3">
            <a:extLst>
              <a:ext uri="{FF2B5EF4-FFF2-40B4-BE49-F238E27FC236}">
                <a16:creationId xmlns:a16="http://schemas.microsoft.com/office/drawing/2014/main" id="{0D560AAE-4E15-4CF5-A76C-2680DC9E6E52}"/>
              </a:ext>
            </a:extLst>
          </p:cNvPr>
          <p:cNvSpPr txBox="1">
            <a:spLocks/>
          </p:cNvSpPr>
          <p:nvPr/>
        </p:nvSpPr>
        <p:spPr>
          <a:xfrm>
            <a:off x="143614" y="1285247"/>
            <a:ext cx="11800735" cy="556867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rgbClr val="D31145"/>
              </a:buClr>
              <a:buFont typeface="Arial" panose="020B0604020202020204" pitchFamily="34" charset="0"/>
              <a:buChar char="̶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D31145"/>
              </a:buClr>
              <a:buFont typeface="Arial" panose="020B0604020202020204" pitchFamily="34" charset="0"/>
              <a:buChar char="̶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D31145"/>
              </a:buClr>
              <a:buFont typeface="Arial" panose="020B0604020202020204" pitchFamily="34" charset="0"/>
              <a:buChar char="̶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D31145"/>
              </a:buClr>
              <a:buFont typeface="Arial" panose="020B0604020202020204" pitchFamily="34" charset="0"/>
              <a:buChar char="̶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D31145"/>
              </a:buClr>
              <a:buFont typeface="Arial" panose="020B0604020202020204" pitchFamily="34" charset="0"/>
              <a:buChar char="̶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Vývoj potvrzuje naplnění rizikového scénáře, který byl vytvořen ke konci srpna a předpokládal naplnění řady rizikových faktorů. Zejména nedostatečné proočkování populace, včetně seniorních generací, kde by žádoucí bylo překonání hranice 90%. Vedle vlivu podzimní sezóny k riziku dále přispívá i schopnost převažující varianty viru unikat vakcinaci.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cénář III: rizikový vývoj s významnými zdravotními dopady.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Vysoce riziková změna situace daná šířením nové varianty viru významně unikající vakcinaci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(až &gt; 30%)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a z</a:t>
            </a:r>
            <a:r>
              <a:rPr kumimoji="0" lang="cs-CZ" sz="20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ároveň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 vykazující zvýšenou přenosnost (nárůst bazální reprodukce minimálně o &gt; 20%, sezonní efekt, vysoký počet rizikových kontaktů v populaci), šíření mezi zranitelnými skupinami obyvatel. Nedostatečná proočkovanost (&lt; 70% v populaci 16+), částečná ztráta (vyprchání) ochrany dokončeným očkováním i u zranitelných a seniorních populačních skupin. Růst zátěže nemocnic. 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cénář I: plně kontrolovatelné šíření epidemie, významný nárůst proočkovanosti populace.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cénář předpokládá dosažení minimálně 80% proočkovanosti populace 16+ v průběhu října (+10% a více proti současnému stavu) a maximální možné doočkování populace 65+ (&gt; 90%). Model předpokládá zpomalení lokálního šíření choroby a dosažení stabilního počtu nově pozitivních případů (plató, R = 1 nebo R &lt; 1). Scénář kalkuluje s rychlým postupem vakcinace (včetně posilujících dávek) a s jejím dlouhodobě trvalým ochranným efektem proti nové variantě viru. Zdravotní dopady jsou nízké, zátěž nemocnic rizikové neroste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cénář I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 /realistický/: růst epidemie bez nekontrolovatelných zdravotních dopadů.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cénář realisticky předpokládá sníženou proočkovanost (cca 70% u populace 16+, cca 80% u populace 65+), ale stále kalkuluje s dlouhodobým ochranným efektem dokončeného očkování. Model nicméně pracuje s šířením nové varianty viru unikající částečně vakcinaci a imunitě po prodělaném onemocnění (riziko úniku 25 %).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Model p</a:t>
            </a:r>
            <a:r>
              <a:rPr kumimoji="0" lang="cs-CZ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ředpokládá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ůslednější dodržování opatření v populaci v důsledku zrychlení epidemie, a tedy pokles počtu rizikových kontaktů a efektivní reprodukce nákazy. Ochrana zranitelných skupin je účinná, avšak je započítáno riziko spojené s cca 280 000 neočkovanými a nechráněnými seniory ve věku 65+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4" name="Přímá spojnice 3">
            <a:extLst>
              <a:ext uri="{FF2B5EF4-FFF2-40B4-BE49-F238E27FC236}">
                <a16:creationId xmlns:a16="http://schemas.microsoft.com/office/drawing/2014/main" id="{B1F1F826-5BB3-4031-BADA-B6C705DF5EEF}"/>
              </a:ext>
            </a:extLst>
          </p:cNvPr>
          <p:cNvCxnSpPr>
            <a:cxnSpLocks/>
          </p:cNvCxnSpPr>
          <p:nvPr/>
        </p:nvCxnSpPr>
        <p:spPr>
          <a:xfrm>
            <a:off x="9144" y="4759967"/>
            <a:ext cx="12140184" cy="29929"/>
          </a:xfrm>
          <a:prstGeom prst="line">
            <a:avLst/>
          </a:prstGeom>
          <a:ln w="28575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ovéPole 7">
            <a:extLst>
              <a:ext uri="{FF2B5EF4-FFF2-40B4-BE49-F238E27FC236}">
                <a16:creationId xmlns:a16="http://schemas.microsoft.com/office/drawing/2014/main" id="{F61C4F8D-0535-487F-81AA-9A430CF04E2D}"/>
              </a:ext>
            </a:extLst>
          </p:cNvPr>
          <p:cNvSpPr txBox="1"/>
          <p:nvPr/>
        </p:nvSpPr>
        <p:spPr>
          <a:xfrm>
            <a:off x="3378505" y="4566157"/>
            <a:ext cx="5605272" cy="369332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lší, již neplatné, scénáře z konce srpna 2021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C5D71630-2049-4AA5-9CAF-79A89D6907C2}"/>
              </a:ext>
            </a:extLst>
          </p:cNvPr>
          <p:cNvSpPr txBox="1"/>
          <p:nvPr/>
        </p:nvSpPr>
        <p:spPr>
          <a:xfrm>
            <a:off x="3265729" y="2153732"/>
            <a:ext cx="5605272" cy="369332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současnosti platný scénář vývoje epidemie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7462669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Obrázek 18">
            <a:extLst>
              <a:ext uri="{FF2B5EF4-FFF2-40B4-BE49-F238E27FC236}">
                <a16:creationId xmlns:a16="http://schemas.microsoft.com/office/drawing/2014/main" id="{8EFC4CDB-8941-4D87-971D-1DB47DD44FF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4576" y="2217290"/>
            <a:ext cx="7250497" cy="3240000"/>
          </a:xfrm>
          <a:prstGeom prst="rect">
            <a:avLst/>
          </a:prstGeom>
        </p:spPr>
      </p:pic>
      <p:sp>
        <p:nvSpPr>
          <p:cNvPr id="23" name="TextovéPole 12">
            <a:extLst>
              <a:ext uri="{FF2B5EF4-FFF2-40B4-BE49-F238E27FC236}">
                <a16:creationId xmlns:a16="http://schemas.microsoft.com/office/drawing/2014/main" id="{9119B67F-49E4-4A7A-BA36-DAE66AAD4855}"/>
              </a:ext>
            </a:extLst>
          </p:cNvPr>
          <p:cNvSpPr txBox="1"/>
          <p:nvPr/>
        </p:nvSpPr>
        <p:spPr>
          <a:xfrm rot="16200000">
            <a:off x="-814628" y="3752190"/>
            <a:ext cx="30324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é případy onemocnění za den</a:t>
            </a: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C11F9500-ED81-45FD-AF3C-90840EEBF1C3}"/>
              </a:ext>
            </a:extLst>
          </p:cNvPr>
          <p:cNvSpPr txBox="1"/>
          <p:nvPr/>
        </p:nvSpPr>
        <p:spPr>
          <a:xfrm>
            <a:off x="169916" y="6054090"/>
            <a:ext cx="803442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 </a:t>
            </a:r>
            <a:r>
              <a:rPr kumimoji="0" lang="cs-CZ" sz="11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IRV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který zahrnuje vybrané předpoklady a slouží ke zkoumání dopadu změny různých parametrů epidemie. Vzhledem k neurčitostem ve struktuře modelu (například limitované znalosti o skutečné vnímavosti populace k viru a k jeho novým variantám) je nezbytné výsledky brát jako orientační, umožňující zejména celkové srovnávání jednotlivých scénářů, nikoli konkrétní předpověď pro určité období. </a:t>
            </a: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8A6A1759-77AD-4B7F-98D8-D6E46F18384F}"/>
              </a:ext>
            </a:extLst>
          </p:cNvPr>
          <p:cNvSpPr txBox="1"/>
          <p:nvPr/>
        </p:nvSpPr>
        <p:spPr>
          <a:xfrm>
            <a:off x="200608" y="198705"/>
            <a:ext cx="11796603" cy="707886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IRV model a predikce do prosince 2021: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ývoj populační zátěže dle scénáře I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: rizikový vývoj s významnými zdravotními dopady, významný další růst</a:t>
            </a:r>
          </a:p>
        </p:txBody>
      </p:sp>
      <p:graphicFrame>
        <p:nvGraphicFramePr>
          <p:cNvPr id="21" name="Tabulka 10">
            <a:extLst>
              <a:ext uri="{FF2B5EF4-FFF2-40B4-BE49-F238E27FC236}">
                <a16:creationId xmlns:a16="http://schemas.microsoft.com/office/drawing/2014/main" id="{E5273A5B-6F76-4409-B5F3-FB52F2CC9C0A}"/>
              </a:ext>
            </a:extLst>
          </p:cNvPr>
          <p:cNvGraphicFramePr>
            <a:graphicFrameLocks noGrp="1"/>
          </p:cNvGraphicFramePr>
          <p:nvPr/>
        </p:nvGraphicFramePr>
        <p:xfrm>
          <a:off x="206492" y="5457290"/>
          <a:ext cx="7775494" cy="55538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79664">
                  <a:extLst>
                    <a:ext uri="{9D8B030D-6E8A-4147-A177-3AD203B41FA5}">
                      <a16:colId xmlns:a16="http://schemas.microsoft.com/office/drawing/2014/main" val="2668584180"/>
                    </a:ext>
                  </a:extLst>
                </a:gridCol>
                <a:gridCol w="732870">
                  <a:extLst>
                    <a:ext uri="{9D8B030D-6E8A-4147-A177-3AD203B41FA5}">
                      <a16:colId xmlns:a16="http://schemas.microsoft.com/office/drawing/2014/main" val="1448076295"/>
                    </a:ext>
                  </a:extLst>
                </a:gridCol>
                <a:gridCol w="732870">
                  <a:extLst>
                    <a:ext uri="{9D8B030D-6E8A-4147-A177-3AD203B41FA5}">
                      <a16:colId xmlns:a16="http://schemas.microsoft.com/office/drawing/2014/main" val="522117172"/>
                    </a:ext>
                  </a:extLst>
                </a:gridCol>
                <a:gridCol w="732870">
                  <a:extLst>
                    <a:ext uri="{9D8B030D-6E8A-4147-A177-3AD203B41FA5}">
                      <a16:colId xmlns:a16="http://schemas.microsoft.com/office/drawing/2014/main" val="81022479"/>
                    </a:ext>
                  </a:extLst>
                </a:gridCol>
                <a:gridCol w="732870">
                  <a:extLst>
                    <a:ext uri="{9D8B030D-6E8A-4147-A177-3AD203B41FA5}">
                      <a16:colId xmlns:a16="http://schemas.microsoft.com/office/drawing/2014/main" val="900389438"/>
                    </a:ext>
                  </a:extLst>
                </a:gridCol>
                <a:gridCol w="732870">
                  <a:extLst>
                    <a:ext uri="{9D8B030D-6E8A-4147-A177-3AD203B41FA5}">
                      <a16:colId xmlns:a16="http://schemas.microsoft.com/office/drawing/2014/main" val="4186132309"/>
                    </a:ext>
                  </a:extLst>
                </a:gridCol>
                <a:gridCol w="732870">
                  <a:extLst>
                    <a:ext uri="{9D8B030D-6E8A-4147-A177-3AD203B41FA5}">
                      <a16:colId xmlns:a16="http://schemas.microsoft.com/office/drawing/2014/main" val="805271721"/>
                    </a:ext>
                  </a:extLst>
                </a:gridCol>
                <a:gridCol w="732870">
                  <a:extLst>
                    <a:ext uri="{9D8B030D-6E8A-4147-A177-3AD203B41FA5}">
                      <a16:colId xmlns:a16="http://schemas.microsoft.com/office/drawing/2014/main" val="148378157"/>
                    </a:ext>
                  </a:extLst>
                </a:gridCol>
                <a:gridCol w="732870">
                  <a:extLst>
                    <a:ext uri="{9D8B030D-6E8A-4147-A177-3AD203B41FA5}">
                      <a16:colId xmlns:a16="http://schemas.microsoft.com/office/drawing/2014/main" val="3981597030"/>
                    </a:ext>
                  </a:extLst>
                </a:gridCol>
                <a:gridCol w="732870">
                  <a:extLst>
                    <a:ext uri="{9D8B030D-6E8A-4147-A177-3AD203B41FA5}">
                      <a16:colId xmlns:a16="http://schemas.microsoft.com/office/drawing/2014/main" val="2471926991"/>
                    </a:ext>
                  </a:extLst>
                </a:gridCol>
              </a:tblGrid>
              <a:tr h="275016">
                <a:tc>
                  <a:txBody>
                    <a:bodyPr/>
                    <a:lstStyle/>
                    <a:p>
                      <a:pPr algn="ctr" fontAlgn="b"/>
                      <a:endParaRPr lang="cs-CZ" sz="1400" b="1" i="0" u="none" strike="noStrike" noProof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ub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ět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rp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stopad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sinec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8861870"/>
                  </a:ext>
                </a:extLst>
              </a:tr>
              <a:tr h="28037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Nově za měsíc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&gt; 300 000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????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3950241"/>
                  </a:ext>
                </a:extLst>
              </a:tr>
            </a:tbl>
          </a:graphicData>
        </a:graphic>
      </p:graphicFrame>
      <p:sp>
        <p:nvSpPr>
          <p:cNvPr id="27" name="TextovéPole 26">
            <a:extLst>
              <a:ext uri="{FF2B5EF4-FFF2-40B4-BE49-F238E27FC236}">
                <a16:creationId xmlns:a16="http://schemas.microsoft.com/office/drawing/2014/main" id="{E90C4BCE-BE26-4DB1-86D7-BAD57ADC65F6}"/>
              </a:ext>
            </a:extLst>
          </p:cNvPr>
          <p:cNvSpPr txBox="1"/>
          <p:nvPr/>
        </p:nvSpPr>
        <p:spPr>
          <a:xfrm>
            <a:off x="8151584" y="996233"/>
            <a:ext cx="3962423" cy="5693866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zikový scénář pracující s rizikovými parametry, které nevyhnutelně povedou k nárůstu zátěže nemocnic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cs-CZ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Vysoce riziková změna situace daná šířením Delta varianty viru významně unikající vakcinaci (až &gt; 35% - 40%) a zároveň vykazující zvýšenou přenosnost (nárůst bazální reprodukce minimálně o &gt; 20%, sezonní efekt, vysoký počet rizikových kontaktů v populaci), šíření mezi zranitelnými skupinami obyvatel. Nedostatečná proočkovanost (&lt; 70% v populaci 16+), částečná ztráta (vyprchání) ochrany dokončeným očkováním i u zranitelných a seniorních populačních skupin. Ochrana zranitelných skupin je částečně neúčinná, je započítáno riziko spojené s cca 370 000 neočkovanými a nechráněnými seniory ve věku 60+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cs-CZ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Model počítá o</a:t>
            </a:r>
            <a:r>
              <a:rPr kumimoji="0" lang="cs-CZ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 1.9. s normálními kontakty a dílčím zvýšením základní reprodukce v důsledku sezónnosti, s větší eskalací v průběhu října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25.10. uvažovaný dopad podzimních prázdnin a dílčího zpřísnění opatření, snížení kontaktů a základní reprodukce o 20 %. </a:t>
            </a:r>
            <a:r>
              <a:rPr kumimoji="0" lang="cs-CZ" sz="1400" b="0" i="0" u="sng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listopadu se počítá opět s významnějším zvýšením počtu kontaktů.</a:t>
            </a:r>
          </a:p>
        </p:txBody>
      </p: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CE9E8AAE-9201-4440-A86B-6973BA9610E2}"/>
              </a:ext>
            </a:extLst>
          </p:cNvPr>
          <p:cNvSpPr txBox="1"/>
          <p:nvPr/>
        </p:nvSpPr>
        <p:spPr>
          <a:xfrm>
            <a:off x="1757888" y="2782669"/>
            <a:ext cx="4428745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ažení vrcholu v šíření a následně doba trvání „plató“, případně rychlost následného poklesu jsou modelovány na základě populačních parametrů a jsou zatíženy značnou nejistotou.  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Šipka: doprava 28">
            <a:extLst>
              <a:ext uri="{FF2B5EF4-FFF2-40B4-BE49-F238E27FC236}">
                <a16:creationId xmlns:a16="http://schemas.microsoft.com/office/drawing/2014/main" id="{FCA2915E-4CAC-4729-9762-71F041E204AD}"/>
              </a:ext>
            </a:extLst>
          </p:cNvPr>
          <p:cNvSpPr/>
          <p:nvPr/>
        </p:nvSpPr>
        <p:spPr>
          <a:xfrm>
            <a:off x="6340989" y="2819499"/>
            <a:ext cx="338555" cy="470442"/>
          </a:xfrm>
          <a:prstGeom prst="rightArrow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TextovéPole 29">
            <a:extLst>
              <a:ext uri="{FF2B5EF4-FFF2-40B4-BE49-F238E27FC236}">
                <a16:creationId xmlns:a16="http://schemas.microsoft.com/office/drawing/2014/main" id="{73FE221A-6A9E-4356-859B-1C05F1840054}"/>
              </a:ext>
            </a:extLst>
          </p:cNvPr>
          <p:cNvSpPr txBox="1"/>
          <p:nvPr/>
        </p:nvSpPr>
        <p:spPr>
          <a:xfrm>
            <a:off x="7176089" y="2920050"/>
            <a:ext cx="53035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6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?</a:t>
            </a:r>
            <a:endParaRPr kumimoji="0" lang="en-US" sz="36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</a:endParaRPr>
          </a:p>
        </p:txBody>
      </p:sp>
      <p:sp>
        <p:nvSpPr>
          <p:cNvPr id="36" name="TextovéPole 25">
            <a:extLst>
              <a:ext uri="{FF2B5EF4-FFF2-40B4-BE49-F238E27FC236}">
                <a16:creationId xmlns:a16="http://schemas.microsoft.com/office/drawing/2014/main" id="{69A6EA45-6C41-483C-AE3C-3855D282D872}"/>
              </a:ext>
            </a:extLst>
          </p:cNvPr>
          <p:cNvSpPr txBox="1"/>
          <p:nvPr/>
        </p:nvSpPr>
        <p:spPr>
          <a:xfrm>
            <a:off x="338328" y="1428086"/>
            <a:ext cx="486917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 periodicity v rámci týdne, odpovídá cca týdenním klouzavým průměrům</a:t>
            </a:r>
          </a:p>
        </p:txBody>
      </p:sp>
      <p:cxnSp>
        <p:nvCxnSpPr>
          <p:cNvPr id="37" name="Přímá spojnice 36">
            <a:extLst>
              <a:ext uri="{FF2B5EF4-FFF2-40B4-BE49-F238E27FC236}">
                <a16:creationId xmlns:a16="http://schemas.microsoft.com/office/drawing/2014/main" id="{19EDFE44-49B1-4056-A57E-9FDC2D7AF8FC}"/>
              </a:ext>
            </a:extLst>
          </p:cNvPr>
          <p:cNvCxnSpPr/>
          <p:nvPr/>
        </p:nvCxnSpPr>
        <p:spPr>
          <a:xfrm>
            <a:off x="5641449" y="1294480"/>
            <a:ext cx="496389" cy="1747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ovéPole 24">
            <a:extLst>
              <a:ext uri="{FF2B5EF4-FFF2-40B4-BE49-F238E27FC236}">
                <a16:creationId xmlns:a16="http://schemas.microsoft.com/office/drawing/2014/main" id="{A940C059-DAB5-4319-8CD1-7773FB6244F1}"/>
              </a:ext>
            </a:extLst>
          </p:cNvPr>
          <p:cNvSpPr txBox="1"/>
          <p:nvPr/>
        </p:nvSpPr>
        <p:spPr>
          <a:xfrm>
            <a:off x="6172672" y="1132016"/>
            <a:ext cx="201017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del (simulace)</a:t>
            </a:r>
          </a:p>
        </p:txBody>
      </p:sp>
      <p:sp>
        <p:nvSpPr>
          <p:cNvPr id="39" name="TextovéPole 38">
            <a:extLst>
              <a:ext uri="{FF2B5EF4-FFF2-40B4-BE49-F238E27FC236}">
                <a16:creationId xmlns:a16="http://schemas.microsoft.com/office/drawing/2014/main" id="{128DF63C-E1A6-43F0-B924-9AB2D9934864}"/>
              </a:ext>
            </a:extLst>
          </p:cNvPr>
          <p:cNvSpPr txBox="1"/>
          <p:nvPr/>
        </p:nvSpPr>
        <p:spPr>
          <a:xfrm>
            <a:off x="338328" y="957028"/>
            <a:ext cx="370208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anžově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ud pozorovaná reálná data, </a:t>
            </a:r>
            <a:b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klouzavý průměr, časové </a:t>
            </a:r>
            <a:r>
              <a: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poždění k hlášení 4 dny</a:t>
            </a:r>
            <a:endParaRPr kumimoji="0" lang="cs-CZ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0" name="TextovéPole 39">
            <a:extLst>
              <a:ext uri="{FF2B5EF4-FFF2-40B4-BE49-F238E27FC236}">
                <a16:creationId xmlns:a16="http://schemas.microsoft.com/office/drawing/2014/main" id="{C1DC3424-D02F-4F69-95B0-11E58518AA30}"/>
              </a:ext>
            </a:extLst>
          </p:cNvPr>
          <p:cNvSpPr txBox="1"/>
          <p:nvPr/>
        </p:nvSpPr>
        <p:spPr>
          <a:xfrm>
            <a:off x="338328" y="1747002"/>
            <a:ext cx="760708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izikový  scénář vedoucí k významnému růstu virové nálože v populaci a následně také k značnému navýšení zátěže nemocnic.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énář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acuje s významnějším opětovným navýšením kontaktů od listopadu a představuje jednu z nejrizikovějších (nicméně stále pravděpodobných) variant vývoje (nutné pro přípravu testovacích a trasovacích kapacit). 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3553153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B308FBC4-9856-48C7-8DF3-A027D07EF2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6008" y="107933"/>
            <a:ext cx="6702661" cy="1059255"/>
          </a:xfrm>
        </p:spPr>
        <p:txBody>
          <a:bodyPr/>
          <a:lstStyle/>
          <a:p>
            <a:r>
              <a:rPr lang="cs-CZ" sz="2400" b="1" dirty="0">
                <a:latin typeface="Arial" panose="020B0604020202020204" pitchFamily="34" charset="0"/>
                <a:cs typeface="Arial" panose="020B0604020202020204" pitchFamily="34" charset="0"/>
              </a:rPr>
              <a:t>Projekce krátkodobých modelů SIR </a:t>
            </a:r>
            <a:br>
              <a:rPr lang="cs-CZ" sz="24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cs-CZ" sz="2400" b="1" dirty="0">
                <a:latin typeface="Arial" panose="020B0604020202020204" pitchFamily="34" charset="0"/>
                <a:cs typeface="Arial" panose="020B0604020202020204" pitchFamily="34" charset="0"/>
              </a:rPr>
              <a:t>pro vývoj epidemie v prosinci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BE5D9B15-9A2B-4DD9-96F4-1AF57AAB983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5126" y="1533113"/>
            <a:ext cx="7742870" cy="4428821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cs-CZ" sz="1800" b="1" dirty="0"/>
              <a:t>V návaznosti na novou kalibraci modelu 3. 12. byly připraveny nové krátkodobé projekce vývoje*</a:t>
            </a:r>
          </a:p>
          <a:p>
            <a:r>
              <a:rPr lang="cs-CZ" sz="1800" b="1" dirty="0">
                <a:solidFill>
                  <a:srgbClr val="00B050"/>
                </a:solidFill>
              </a:rPr>
              <a:t>Scénář A (scénář </a:t>
            </a:r>
            <a:r>
              <a:rPr lang="en-US" sz="1800" b="1" dirty="0" err="1">
                <a:solidFill>
                  <a:srgbClr val="00B050"/>
                </a:solidFill>
              </a:rPr>
              <a:t>zpomalen</a:t>
            </a:r>
            <a:r>
              <a:rPr lang="cs-CZ" sz="1800" b="1" dirty="0">
                <a:solidFill>
                  <a:srgbClr val="00B050"/>
                </a:solidFill>
              </a:rPr>
              <a:t>í; předpokládané R = 0,90)</a:t>
            </a:r>
          </a:p>
          <a:p>
            <a:pPr lvl="1"/>
            <a:r>
              <a:rPr lang="cs-CZ" sz="1600" dirty="0"/>
              <a:t>zřetelnější zpomalení díky </a:t>
            </a:r>
            <a:r>
              <a:rPr lang="en-US" sz="1600" dirty="0" err="1"/>
              <a:t>testov</a:t>
            </a:r>
            <a:r>
              <a:rPr lang="cs-CZ" sz="1600" dirty="0" err="1"/>
              <a:t>ání</a:t>
            </a:r>
            <a:r>
              <a:rPr lang="cs-CZ" sz="1600" dirty="0"/>
              <a:t>, proočkovanosti, dodržování opatření apod.</a:t>
            </a:r>
          </a:p>
          <a:p>
            <a:r>
              <a:rPr lang="cs-CZ" sz="1800" b="1" dirty="0">
                <a:solidFill>
                  <a:srgbClr val="0070C0"/>
                </a:solidFill>
              </a:rPr>
              <a:t>Scénář B (scénář mírného zpomalení; předpokládané R = 0,95)</a:t>
            </a:r>
          </a:p>
          <a:p>
            <a:pPr lvl="1"/>
            <a:r>
              <a:rPr lang="cs-CZ" sz="1600" dirty="0"/>
              <a:t>zpomalení díky </a:t>
            </a:r>
            <a:r>
              <a:rPr lang="en-US" sz="1600" dirty="0" err="1"/>
              <a:t>testov</a:t>
            </a:r>
            <a:r>
              <a:rPr lang="cs-CZ" sz="1600" dirty="0" err="1"/>
              <a:t>ání</a:t>
            </a:r>
            <a:r>
              <a:rPr lang="cs-CZ" sz="1600" dirty="0"/>
              <a:t>, proočkovanosti, dodržování opatření apod.</a:t>
            </a:r>
          </a:p>
          <a:p>
            <a:r>
              <a:rPr lang="cs-CZ" sz="1800" b="1" dirty="0">
                <a:solidFill>
                  <a:srgbClr val="FFC618"/>
                </a:solidFill>
              </a:rPr>
              <a:t>Scénář C (scénář mírného zrychlení, předpokládané R = 1,05)</a:t>
            </a:r>
          </a:p>
          <a:p>
            <a:pPr lvl="1"/>
            <a:r>
              <a:rPr lang="cs-CZ" sz="1600" dirty="0"/>
              <a:t>pokračující růst, nedostatečná kolektivní imunita, vakcinace významně v čase nepostupuje a projevuje se schopnost viru částečně prolomit vakcinaci</a:t>
            </a:r>
          </a:p>
          <a:p>
            <a:r>
              <a:rPr lang="cs-CZ" sz="1800" b="1" dirty="0">
                <a:solidFill>
                  <a:srgbClr val="FF0000"/>
                </a:solidFill>
              </a:rPr>
              <a:t>Scénář D (scénář zrychlení, předpokládané R = 1,10)</a:t>
            </a:r>
          </a:p>
          <a:p>
            <a:pPr lvl="1"/>
            <a:r>
              <a:rPr lang="cs-CZ" sz="1600" dirty="0"/>
              <a:t>opětovně vyšší počet rizikových kontaktů, nedostatečná kolektivní imunita, vakcinace významně v čase nepostupuje a projevuje se schopnost viru částečně prolomit vakcinaci a v čase klesající efektivita vakcinace, nedostatečná aplikace boosteru</a:t>
            </a: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267E8C24-967E-41C5-A2B5-229406E471EE}"/>
              </a:ext>
            </a:extLst>
          </p:cNvPr>
          <p:cNvSpPr txBox="1"/>
          <p:nvPr/>
        </p:nvSpPr>
        <p:spPr>
          <a:xfrm>
            <a:off x="76201" y="5961934"/>
            <a:ext cx="1204546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Projekce odpovídají kalibraci reprodukčního čísla epidemiologickým modelem pro krátkodobé predikce ÚZIS ČR v segmentu od 15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11. do 2. 12. 2021, odhad 0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98 (0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8–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,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8), interval odpovídá 95% intervalu neurčitosti z odhadů získaných kalibrací modelu, kalibračním cílem byly denní přírůstky s vyjmutím volných dnů a exponenciální váhou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cénáře pro různou dynamiku šíření epidemie v následujícím období jsou aplikovány od 25. 11. 2021.</a:t>
            </a:r>
          </a:p>
        </p:txBody>
      </p:sp>
      <p:sp>
        <p:nvSpPr>
          <p:cNvPr id="5" name="TextovéPole 4">
            <a:extLst>
              <a:ext uri="{FF2B5EF4-FFF2-40B4-BE49-F238E27FC236}">
                <a16:creationId xmlns:a16="http://schemas.microsoft.com/office/drawing/2014/main" id="{862246AC-1146-4076-847F-695D29DD53B0}"/>
              </a:ext>
            </a:extLst>
          </p:cNvPr>
          <p:cNvSpPr txBox="1"/>
          <p:nvPr/>
        </p:nvSpPr>
        <p:spPr>
          <a:xfrm>
            <a:off x="8096921" y="1717902"/>
            <a:ext cx="3752487" cy="369331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átkodobé projekce vývoje na bázi modelů SIR nenahrazují dlouhodobé populační modely sledování vývoje epidemie. Projekce slouží zejména k doložení pravděpodobného vývoje počtu nových případů při dané dynamice růstu virové zátěže, tedy pro přípravu kapacit v managementu epidemie. Projekce vychází z reálných dat a trendů posledních cca tří týdnů a ukazují možný vývoj při dané hodnotě R a při zachování objemu a struktury prováděných testů 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912821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Chart 4">
            <a:extLst>
              <a:ext uri="{FF2B5EF4-FFF2-40B4-BE49-F238E27FC236}">
                <a16:creationId xmlns:a16="http://schemas.microsoft.com/office/drawing/2014/main" id="{49B07879-1D7D-432F-964E-F4D01F6C03A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31396356"/>
              </p:ext>
            </p:extLst>
          </p:nvPr>
        </p:nvGraphicFramePr>
        <p:xfrm>
          <a:off x="556549" y="3273786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C70790D6-BA3F-46D0-99B1-4BDE2A0ABF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927" y="2"/>
            <a:ext cx="11650316" cy="576000"/>
          </a:xfrm>
        </p:spPr>
        <p:txBody>
          <a:bodyPr/>
          <a:lstStyle/>
          <a:p>
            <a:r>
              <a:rPr lang="cs-CZ" sz="2400" dirty="0"/>
              <a:t>Krátkodobá projekce modelů SIR dle hodnoty efektivního reprodukčního čísla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399F9D63-C378-4018-B97A-C6FF1B38BBF2}"/>
              </a:ext>
            </a:extLst>
          </p:cNvPr>
          <p:cNvSpPr txBox="1"/>
          <p:nvPr/>
        </p:nvSpPr>
        <p:spPr>
          <a:xfrm>
            <a:off x="86260" y="1114072"/>
            <a:ext cx="38671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 dle hodnoty reprodukčního čísla 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69B8FCCD-AB42-495D-8900-E0EDAF4D3695}"/>
              </a:ext>
            </a:extLst>
          </p:cNvPr>
          <p:cNvSpPr txBox="1"/>
          <p:nvPr/>
        </p:nvSpPr>
        <p:spPr>
          <a:xfrm>
            <a:off x="4645828" y="605565"/>
            <a:ext cx="4233387" cy="369332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zrychlení, R = 1,10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915432FB-02C6-4A48-823E-AAFFD38F04CD}"/>
              </a:ext>
            </a:extLst>
          </p:cNvPr>
          <p:cNvSpPr txBox="1"/>
          <p:nvPr/>
        </p:nvSpPr>
        <p:spPr>
          <a:xfrm>
            <a:off x="4645828" y="2253834"/>
            <a:ext cx="4233387" cy="369332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zpomalení, R = 0,90</a:t>
            </a:r>
          </a:p>
        </p:txBody>
      </p:sp>
      <p:cxnSp>
        <p:nvCxnSpPr>
          <p:cNvPr id="10" name="Přímá spojnice se šipkou 9">
            <a:extLst>
              <a:ext uri="{FF2B5EF4-FFF2-40B4-BE49-F238E27FC236}">
                <a16:creationId xmlns:a16="http://schemas.microsoft.com/office/drawing/2014/main" id="{2FBBF0DE-751C-4A8D-9688-745F518DEA63}"/>
              </a:ext>
            </a:extLst>
          </p:cNvPr>
          <p:cNvCxnSpPr>
            <a:cxnSpLocks/>
            <a:stCxn id="7" idx="3"/>
          </p:cNvCxnSpPr>
          <p:nvPr/>
        </p:nvCxnSpPr>
        <p:spPr>
          <a:xfrm flipV="1">
            <a:off x="3953410" y="848123"/>
            <a:ext cx="578118" cy="68144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Přímá spojnice se šipkou 10">
            <a:extLst>
              <a:ext uri="{FF2B5EF4-FFF2-40B4-BE49-F238E27FC236}">
                <a16:creationId xmlns:a16="http://schemas.microsoft.com/office/drawing/2014/main" id="{427BD7B2-178E-45A0-B634-921C0C8A629F}"/>
              </a:ext>
            </a:extLst>
          </p:cNvPr>
          <p:cNvCxnSpPr>
            <a:cxnSpLocks/>
          </p:cNvCxnSpPr>
          <p:nvPr/>
        </p:nvCxnSpPr>
        <p:spPr>
          <a:xfrm>
            <a:off x="3990644" y="1708000"/>
            <a:ext cx="540884" cy="68738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6">
            <a:extLst>
              <a:ext uri="{FF2B5EF4-FFF2-40B4-BE49-F238E27FC236}">
                <a16:creationId xmlns:a16="http://schemas.microsoft.com/office/drawing/2014/main" id="{69CEF138-18A8-4271-9FEF-402DB7C25B86}"/>
              </a:ext>
            </a:extLst>
          </p:cNvPr>
          <p:cNvSpPr txBox="1"/>
          <p:nvPr/>
        </p:nvSpPr>
        <p:spPr>
          <a:xfrm rot="16200000">
            <a:off x="-1107773" y="4633294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osob s nově prokázanou nákazou COVID-19</a:t>
            </a: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D297EC6B-32AF-493A-B2A7-B285C8CEF178}"/>
              </a:ext>
            </a:extLst>
          </p:cNvPr>
          <p:cNvSpPr txBox="1"/>
          <p:nvPr/>
        </p:nvSpPr>
        <p:spPr>
          <a:xfrm>
            <a:off x="5567743" y="1061910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10</a:t>
            </a:r>
          </a:p>
        </p:txBody>
      </p:sp>
      <p:sp>
        <p:nvSpPr>
          <p:cNvPr id="17" name="Obdélník 16">
            <a:extLst>
              <a:ext uri="{FF2B5EF4-FFF2-40B4-BE49-F238E27FC236}">
                <a16:creationId xmlns:a16="http://schemas.microsoft.com/office/drawing/2014/main" id="{3C9B186B-8163-428B-A364-E90D3144B57D}"/>
              </a:ext>
            </a:extLst>
          </p:cNvPr>
          <p:cNvSpPr/>
          <p:nvPr/>
        </p:nvSpPr>
        <p:spPr>
          <a:xfrm>
            <a:off x="1622845" y="4860912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35669B2F-D612-4664-B709-53D98132D57A}"/>
              </a:ext>
            </a:extLst>
          </p:cNvPr>
          <p:cNvSpPr txBox="1"/>
          <p:nvPr/>
        </p:nvSpPr>
        <p:spPr>
          <a:xfrm>
            <a:off x="1920025" y="4809105"/>
            <a:ext cx="2070619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 </a:t>
            </a:r>
            <a:b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7. 12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9" name="Přímá spojnice 18">
            <a:extLst>
              <a:ext uri="{FF2B5EF4-FFF2-40B4-BE49-F238E27FC236}">
                <a16:creationId xmlns:a16="http://schemas.microsoft.com/office/drawing/2014/main" id="{76B85254-1A7D-488E-9830-3F99A7742F43}"/>
              </a:ext>
            </a:extLst>
          </p:cNvPr>
          <p:cNvCxnSpPr>
            <a:cxnSpLocks/>
          </p:cNvCxnSpPr>
          <p:nvPr/>
        </p:nvCxnSpPr>
        <p:spPr>
          <a:xfrm>
            <a:off x="5273490" y="1216945"/>
            <a:ext cx="237744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7DE1342D-EB8B-4B07-AF76-9D71853830EC}"/>
              </a:ext>
            </a:extLst>
          </p:cNvPr>
          <p:cNvSpPr txBox="1"/>
          <p:nvPr/>
        </p:nvSpPr>
        <p:spPr>
          <a:xfrm>
            <a:off x="5567743" y="1269374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05</a:t>
            </a:r>
          </a:p>
        </p:txBody>
      </p:sp>
      <p:cxnSp>
        <p:nvCxnSpPr>
          <p:cNvPr id="21" name="Přímá spojnice 20">
            <a:extLst>
              <a:ext uri="{FF2B5EF4-FFF2-40B4-BE49-F238E27FC236}">
                <a16:creationId xmlns:a16="http://schemas.microsoft.com/office/drawing/2014/main" id="{E4706C2C-C343-4CD4-BC4A-ED6979CFCE85}"/>
              </a:ext>
            </a:extLst>
          </p:cNvPr>
          <p:cNvCxnSpPr>
            <a:cxnSpLocks/>
          </p:cNvCxnSpPr>
          <p:nvPr/>
        </p:nvCxnSpPr>
        <p:spPr>
          <a:xfrm>
            <a:off x="5273490" y="1440252"/>
            <a:ext cx="237744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Přímá spojnice 24">
            <a:extLst>
              <a:ext uri="{FF2B5EF4-FFF2-40B4-BE49-F238E27FC236}">
                <a16:creationId xmlns:a16="http://schemas.microsoft.com/office/drawing/2014/main" id="{E453CAE8-274D-40EB-837F-1DFE06B3FC2E}"/>
              </a:ext>
            </a:extLst>
          </p:cNvPr>
          <p:cNvCxnSpPr>
            <a:cxnSpLocks/>
          </p:cNvCxnSpPr>
          <p:nvPr/>
        </p:nvCxnSpPr>
        <p:spPr>
          <a:xfrm>
            <a:off x="5273490" y="1854426"/>
            <a:ext cx="237744" cy="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266137AA-9182-40A3-A142-5179882050AD}"/>
              </a:ext>
            </a:extLst>
          </p:cNvPr>
          <p:cNvSpPr txBox="1"/>
          <p:nvPr/>
        </p:nvSpPr>
        <p:spPr>
          <a:xfrm>
            <a:off x="5567743" y="1695703"/>
            <a:ext cx="3135405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9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ze dne 3. 12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</a:p>
        </p:txBody>
      </p:sp>
      <p:sp>
        <p:nvSpPr>
          <p:cNvPr id="22" name="TextovéPole 21">
            <a:extLst>
              <a:ext uri="{FF2B5EF4-FFF2-40B4-BE49-F238E27FC236}">
                <a16:creationId xmlns:a16="http://schemas.microsoft.com/office/drawing/2014/main" id="{A5C97B4C-ED25-4E57-BB83-FAED72C8D978}"/>
              </a:ext>
            </a:extLst>
          </p:cNvPr>
          <p:cNvSpPr txBox="1"/>
          <p:nvPr/>
        </p:nvSpPr>
        <p:spPr>
          <a:xfrm>
            <a:off x="5568235" y="1489227"/>
            <a:ext cx="320161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95</a:t>
            </a:r>
          </a:p>
        </p:txBody>
      </p:sp>
      <p:cxnSp>
        <p:nvCxnSpPr>
          <p:cNvPr id="23" name="Přímá spojnice 22">
            <a:extLst>
              <a:ext uri="{FF2B5EF4-FFF2-40B4-BE49-F238E27FC236}">
                <a16:creationId xmlns:a16="http://schemas.microsoft.com/office/drawing/2014/main" id="{A4C853E7-AA17-488D-8B4F-4A4F18501DC6}"/>
              </a:ext>
            </a:extLst>
          </p:cNvPr>
          <p:cNvCxnSpPr>
            <a:cxnSpLocks/>
          </p:cNvCxnSpPr>
          <p:nvPr/>
        </p:nvCxnSpPr>
        <p:spPr>
          <a:xfrm>
            <a:off x="5273490" y="1640436"/>
            <a:ext cx="237744" cy="0"/>
          </a:xfrm>
          <a:prstGeom prst="line">
            <a:avLst/>
          </a:prstGeom>
          <a:ln w="38100">
            <a:solidFill>
              <a:srgbClr val="4472C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ovéPole 26">
            <a:extLst>
              <a:ext uri="{FF2B5EF4-FFF2-40B4-BE49-F238E27FC236}">
                <a16:creationId xmlns:a16="http://schemas.microsoft.com/office/drawing/2014/main" id="{CF058705-E099-4F5E-B598-06B4E55917DD}"/>
              </a:ext>
            </a:extLst>
          </p:cNvPr>
          <p:cNvSpPr txBox="1"/>
          <p:nvPr/>
        </p:nvSpPr>
        <p:spPr>
          <a:xfrm>
            <a:off x="9813592" y="1015956"/>
            <a:ext cx="1584476" cy="101566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9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1. 202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41 099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predikovaných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29 610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predikovaných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4 724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predikovaných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0 142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predikovaných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57C8870D-0DBF-47D5-A3E6-DD61FC19E3DA}"/>
              </a:ext>
            </a:extLst>
          </p:cNvPr>
          <p:cNvSpPr txBox="1"/>
          <p:nvPr/>
        </p:nvSpPr>
        <p:spPr>
          <a:xfrm>
            <a:off x="2542049" y="2732830"/>
            <a:ext cx="811245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/>
              <a:t>Krátkodobé projekce potvrzují, že i při R = 0,9 by byl pokles virové nálože v populaci relativně pomalý a vysoká zátěž by v populaci přetrvávala až do konce roku 2021.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943667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Chart 4">
            <a:extLst>
              <a:ext uri="{FF2B5EF4-FFF2-40B4-BE49-F238E27FC236}">
                <a16:creationId xmlns:a16="http://schemas.microsoft.com/office/drawing/2014/main" id="{1C607227-CBFF-4193-B50F-EDC6549C29C0}"/>
              </a:ext>
            </a:extLst>
          </p:cNvPr>
          <p:cNvGraphicFramePr/>
          <p:nvPr/>
        </p:nvGraphicFramePr>
        <p:xfrm>
          <a:off x="556549" y="1494124"/>
          <a:ext cx="11354940" cy="53292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C70790D6-BA3F-46D0-99B1-4BDE2A0ABF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059" y="-18593"/>
            <a:ext cx="11354940" cy="576000"/>
          </a:xfrm>
        </p:spPr>
        <p:txBody>
          <a:bodyPr/>
          <a:lstStyle/>
          <a:p>
            <a:r>
              <a:rPr lang="cs-CZ" sz="2400" dirty="0"/>
              <a:t>7denní hodnoty na 100 tisíc obyvatel: krátkodobá projekce vývoje </a:t>
            </a:r>
          </a:p>
        </p:txBody>
      </p:sp>
      <p:sp>
        <p:nvSpPr>
          <p:cNvPr id="17" name="Obdélník 16">
            <a:extLst>
              <a:ext uri="{FF2B5EF4-FFF2-40B4-BE49-F238E27FC236}">
                <a16:creationId xmlns:a16="http://schemas.microsoft.com/office/drawing/2014/main" id="{3C9B186B-8163-428B-A364-E90D3144B57D}"/>
              </a:ext>
            </a:extLst>
          </p:cNvPr>
          <p:cNvSpPr/>
          <p:nvPr/>
        </p:nvSpPr>
        <p:spPr>
          <a:xfrm>
            <a:off x="1455917" y="2220868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35669B2F-D612-4664-B709-53D98132D57A}"/>
              </a:ext>
            </a:extLst>
          </p:cNvPr>
          <p:cNvSpPr txBox="1"/>
          <p:nvPr/>
        </p:nvSpPr>
        <p:spPr>
          <a:xfrm>
            <a:off x="1735659" y="2179107"/>
            <a:ext cx="361955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álná data z IS IN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7. 12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TextBox 6">
            <a:extLst>
              <a:ext uri="{FF2B5EF4-FFF2-40B4-BE49-F238E27FC236}">
                <a16:creationId xmlns:a16="http://schemas.microsoft.com/office/drawing/2014/main" id="{8B058FAD-246D-4FB5-9A38-9461A45D5931}"/>
              </a:ext>
            </a:extLst>
          </p:cNvPr>
          <p:cNvSpPr txBox="1"/>
          <p:nvPr/>
        </p:nvSpPr>
        <p:spPr>
          <a:xfrm rot="16200000">
            <a:off x="-1372766" y="3208280"/>
            <a:ext cx="3640833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umulativní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0 tis. osob</a:t>
            </a: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1D997ECA-8A36-4B34-B5A8-38AA2E8AA115}"/>
              </a:ext>
            </a:extLst>
          </p:cNvPr>
          <p:cNvSpPr txBox="1"/>
          <p:nvPr/>
        </p:nvSpPr>
        <p:spPr>
          <a:xfrm>
            <a:off x="11581780" y="5221824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31" name="TextovéPole 30">
            <a:extLst>
              <a:ext uri="{FF2B5EF4-FFF2-40B4-BE49-F238E27FC236}">
                <a16:creationId xmlns:a16="http://schemas.microsoft.com/office/drawing/2014/main" id="{95545FA7-595F-4A29-94DD-6DCFA00D86C0}"/>
              </a:ext>
            </a:extLst>
          </p:cNvPr>
          <p:cNvSpPr txBox="1"/>
          <p:nvPr/>
        </p:nvSpPr>
        <p:spPr>
          <a:xfrm>
            <a:off x="11597277" y="5487754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5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32" name="TextovéPole 31">
            <a:extLst>
              <a:ext uri="{FF2B5EF4-FFF2-40B4-BE49-F238E27FC236}">
                <a16:creationId xmlns:a16="http://schemas.microsoft.com/office/drawing/2014/main" id="{BE993916-2EEC-4D23-A11A-577A1D408336}"/>
              </a:ext>
            </a:extLst>
          </p:cNvPr>
          <p:cNvSpPr txBox="1"/>
          <p:nvPr/>
        </p:nvSpPr>
        <p:spPr>
          <a:xfrm>
            <a:off x="8048740" y="815233"/>
            <a:ext cx="1945049" cy="118494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9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1. 202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7denní </a:t>
            </a:r>
            <a:r>
              <a:rPr kumimoji="0" lang="cs-CZ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um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počet na 100 tis.)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 221 na 100 tisíc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 640 na 100 tisíc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860 na 100 tisíc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609 na 100 tisíc</a:t>
            </a: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19232A53-DCEA-43C0-AB08-8B92BC0FF4F5}"/>
              </a:ext>
            </a:extLst>
          </p:cNvPr>
          <p:cNvSpPr txBox="1"/>
          <p:nvPr/>
        </p:nvSpPr>
        <p:spPr>
          <a:xfrm>
            <a:off x="6119356" y="774853"/>
            <a:ext cx="22210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é hodnoty </a:t>
            </a:r>
          </a:p>
        </p:txBody>
      </p:sp>
      <p:sp>
        <p:nvSpPr>
          <p:cNvPr id="34" name="TextovéPole 33">
            <a:extLst>
              <a:ext uri="{FF2B5EF4-FFF2-40B4-BE49-F238E27FC236}">
                <a16:creationId xmlns:a16="http://schemas.microsoft.com/office/drawing/2014/main" id="{6167808C-DD4A-421B-9D5A-5608932F9D83}"/>
              </a:ext>
            </a:extLst>
          </p:cNvPr>
          <p:cNvSpPr txBox="1"/>
          <p:nvPr/>
        </p:nvSpPr>
        <p:spPr>
          <a:xfrm>
            <a:off x="228000" y="6363777"/>
            <a:ext cx="1173470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delované hodnoty byly korigovány, aby odpovídaly celotýdenním hodnotám, včetně volných dnů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(8</a:t>
            </a:r>
            <a:r>
              <a:rPr kumimoji="0" lang="cs-CZ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% pr</a:t>
            </a:r>
            <a:r>
              <a:rPr kumimoji="0" lang="cs-CZ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ůměrné</a:t>
            </a:r>
            <a:r>
              <a:rPr kumimoji="0" lang="cs-CZ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hodnoty v pracovních dnech).</a:t>
            </a:r>
          </a:p>
        </p:txBody>
      </p:sp>
      <p:sp>
        <p:nvSpPr>
          <p:cNvPr id="24" name="TextovéPole 23">
            <a:extLst>
              <a:ext uri="{FF2B5EF4-FFF2-40B4-BE49-F238E27FC236}">
                <a16:creationId xmlns:a16="http://schemas.microsoft.com/office/drawing/2014/main" id="{DD90FC8C-A0A3-4025-9DAC-A2967E0370DD}"/>
              </a:ext>
            </a:extLst>
          </p:cNvPr>
          <p:cNvSpPr txBox="1"/>
          <p:nvPr/>
        </p:nvSpPr>
        <p:spPr>
          <a:xfrm>
            <a:off x="1735659" y="983319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10</a:t>
            </a:r>
          </a:p>
        </p:txBody>
      </p:sp>
      <p:cxnSp>
        <p:nvCxnSpPr>
          <p:cNvPr id="28" name="Přímá spojnice 27">
            <a:extLst>
              <a:ext uri="{FF2B5EF4-FFF2-40B4-BE49-F238E27FC236}">
                <a16:creationId xmlns:a16="http://schemas.microsoft.com/office/drawing/2014/main" id="{E33C7563-1DCE-4A3B-8AE8-FBF1171A4F53}"/>
              </a:ext>
            </a:extLst>
          </p:cNvPr>
          <p:cNvCxnSpPr>
            <a:cxnSpLocks/>
          </p:cNvCxnSpPr>
          <p:nvPr/>
        </p:nvCxnSpPr>
        <p:spPr>
          <a:xfrm>
            <a:off x="1441406" y="1138354"/>
            <a:ext cx="237744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ovéPole 35">
            <a:extLst>
              <a:ext uri="{FF2B5EF4-FFF2-40B4-BE49-F238E27FC236}">
                <a16:creationId xmlns:a16="http://schemas.microsoft.com/office/drawing/2014/main" id="{CC9EE453-45DC-42CD-A61F-730C1791F211}"/>
              </a:ext>
            </a:extLst>
          </p:cNvPr>
          <p:cNvSpPr txBox="1"/>
          <p:nvPr/>
        </p:nvSpPr>
        <p:spPr>
          <a:xfrm>
            <a:off x="1735659" y="1190783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05</a:t>
            </a:r>
          </a:p>
        </p:txBody>
      </p:sp>
      <p:cxnSp>
        <p:nvCxnSpPr>
          <p:cNvPr id="37" name="Přímá spojnice 36">
            <a:extLst>
              <a:ext uri="{FF2B5EF4-FFF2-40B4-BE49-F238E27FC236}">
                <a16:creationId xmlns:a16="http://schemas.microsoft.com/office/drawing/2014/main" id="{0E9CF0EC-FB65-47A3-A571-2F101A3DACA9}"/>
              </a:ext>
            </a:extLst>
          </p:cNvPr>
          <p:cNvCxnSpPr>
            <a:cxnSpLocks/>
          </p:cNvCxnSpPr>
          <p:nvPr/>
        </p:nvCxnSpPr>
        <p:spPr>
          <a:xfrm>
            <a:off x="1441406" y="1361661"/>
            <a:ext cx="237744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Přímá spojnice 37">
            <a:extLst>
              <a:ext uri="{FF2B5EF4-FFF2-40B4-BE49-F238E27FC236}">
                <a16:creationId xmlns:a16="http://schemas.microsoft.com/office/drawing/2014/main" id="{F5BD2EAE-B357-4FE4-BC41-939A8B50C3B7}"/>
              </a:ext>
            </a:extLst>
          </p:cNvPr>
          <p:cNvCxnSpPr>
            <a:cxnSpLocks/>
          </p:cNvCxnSpPr>
          <p:nvPr/>
        </p:nvCxnSpPr>
        <p:spPr>
          <a:xfrm>
            <a:off x="1441406" y="1775835"/>
            <a:ext cx="237744" cy="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ovéPole 38">
            <a:extLst>
              <a:ext uri="{FF2B5EF4-FFF2-40B4-BE49-F238E27FC236}">
                <a16:creationId xmlns:a16="http://schemas.microsoft.com/office/drawing/2014/main" id="{A4EDB006-DE3B-40AE-916D-67248B04788B}"/>
              </a:ext>
            </a:extLst>
          </p:cNvPr>
          <p:cNvSpPr txBox="1"/>
          <p:nvPr/>
        </p:nvSpPr>
        <p:spPr>
          <a:xfrm>
            <a:off x="1735659" y="1617112"/>
            <a:ext cx="3135405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9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ze dne 3. 12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</a:p>
        </p:txBody>
      </p:sp>
      <p:sp>
        <p:nvSpPr>
          <p:cNvPr id="40" name="TextovéPole 39">
            <a:extLst>
              <a:ext uri="{FF2B5EF4-FFF2-40B4-BE49-F238E27FC236}">
                <a16:creationId xmlns:a16="http://schemas.microsoft.com/office/drawing/2014/main" id="{11359E92-50FF-4D3F-9AA6-DBCC9F298EAA}"/>
              </a:ext>
            </a:extLst>
          </p:cNvPr>
          <p:cNvSpPr txBox="1"/>
          <p:nvPr/>
        </p:nvSpPr>
        <p:spPr>
          <a:xfrm>
            <a:off x="1736151" y="1410636"/>
            <a:ext cx="320161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95</a:t>
            </a:r>
          </a:p>
        </p:txBody>
      </p:sp>
      <p:cxnSp>
        <p:nvCxnSpPr>
          <p:cNvPr id="41" name="Přímá spojnice 40">
            <a:extLst>
              <a:ext uri="{FF2B5EF4-FFF2-40B4-BE49-F238E27FC236}">
                <a16:creationId xmlns:a16="http://schemas.microsoft.com/office/drawing/2014/main" id="{B36694A9-7DDA-41A0-8C74-1D09992F8DE3}"/>
              </a:ext>
            </a:extLst>
          </p:cNvPr>
          <p:cNvCxnSpPr>
            <a:cxnSpLocks/>
          </p:cNvCxnSpPr>
          <p:nvPr/>
        </p:nvCxnSpPr>
        <p:spPr>
          <a:xfrm>
            <a:off x="1441406" y="1561845"/>
            <a:ext cx="237744" cy="0"/>
          </a:xfrm>
          <a:prstGeom prst="line">
            <a:avLst/>
          </a:prstGeom>
          <a:ln w="38100">
            <a:solidFill>
              <a:srgbClr val="4472C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3F97D918-E74A-454F-A3C4-6D2F81B4C8F9}"/>
              </a:ext>
            </a:extLst>
          </p:cNvPr>
          <p:cNvSpPr txBox="1"/>
          <p:nvPr/>
        </p:nvSpPr>
        <p:spPr>
          <a:xfrm>
            <a:off x="1402396" y="2613463"/>
            <a:ext cx="469295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/>
              <a:t>Krátkodobé projekce potvrzují, že i při R = 0,9 by byl pokles virové nálože v populaci relativně pomalý a vysoká zátěž by v populaci přetrvávala až do konce roku 2021.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703540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3346" y="3828910"/>
            <a:ext cx="11905307" cy="2236911"/>
          </a:xfrm>
        </p:spPr>
        <p:txBody>
          <a:bodyPr>
            <a:normAutofit/>
          </a:bodyPr>
          <a:lstStyle/>
          <a:p>
            <a:r>
              <a:rPr lang="cs-CZ" sz="5200" b="1" dirty="0"/>
              <a:t>Projekce predikcí do vývoje zátěže nemocnic</a:t>
            </a:r>
            <a:endParaRPr lang="cs-CZ" sz="4200" i="1" dirty="0"/>
          </a:p>
        </p:txBody>
      </p:sp>
    </p:spTree>
    <p:extLst>
      <p:ext uri="{BB962C8B-B14F-4D97-AF65-F5344CB8AC3E}">
        <p14:creationId xmlns:p14="http://schemas.microsoft.com/office/powerpoint/2010/main" val="29970776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Chart 4">
            <a:extLst>
              <a:ext uri="{FF2B5EF4-FFF2-40B4-BE49-F238E27FC236}">
                <a16:creationId xmlns:a16="http://schemas.microsoft.com/office/drawing/2014/main" id="{833A5CE7-EFE4-4FF9-8B90-B0FD849FE351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81376484"/>
              </p:ext>
            </p:extLst>
          </p:nvPr>
        </p:nvGraphicFramePr>
        <p:xfrm>
          <a:off x="95247" y="2824205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2" name="TextovéPole 11">
            <a:extLst>
              <a:ext uri="{FF2B5EF4-FFF2-40B4-BE49-F238E27FC236}">
                <a16:creationId xmlns:a16="http://schemas.microsoft.com/office/drawing/2014/main" id="{CB45B59F-8A81-4DD2-B8A6-842CB8B659F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259882" y="1419252"/>
            <a:ext cx="2362704" cy="830997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pulace seniorů 65+ let</a:t>
            </a:r>
          </a:p>
        </p:txBody>
      </p:sp>
      <p:graphicFrame>
        <p:nvGraphicFramePr>
          <p:cNvPr id="8" name="Tabulka 3">
            <a:extLst>
              <a:ext uri="{FF2B5EF4-FFF2-40B4-BE49-F238E27FC236}">
                <a16:creationId xmlns:a16="http://schemas.microsoft.com/office/drawing/2014/main" id="{BD7252EE-5071-4E6F-8048-257003F8720A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048117483"/>
              </p:ext>
            </p:extLst>
          </p:nvPr>
        </p:nvGraphicFramePr>
        <p:xfrm>
          <a:off x="5568978" y="1020662"/>
          <a:ext cx="4551676" cy="15773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03642">
                  <a:extLst>
                    <a:ext uri="{9D8B030D-6E8A-4147-A177-3AD203B41FA5}">
                      <a16:colId xmlns:a16="http://schemas.microsoft.com/office/drawing/2014/main" val="653187899"/>
                    </a:ext>
                  </a:extLst>
                </a:gridCol>
                <a:gridCol w="1348034">
                  <a:extLst>
                    <a:ext uri="{9D8B030D-6E8A-4147-A177-3AD203B41FA5}">
                      <a16:colId xmlns:a16="http://schemas.microsoft.com/office/drawing/2014/main" val="3486415745"/>
                    </a:ext>
                  </a:extLst>
                </a:gridCol>
              </a:tblGrid>
              <a:tr h="370840">
                <a:tc gridSpan="2">
                  <a:txBody>
                    <a:bodyPr/>
                    <a:lstStyle/>
                    <a:p>
                      <a:pPr marL="0" marR="0" lvl="2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2400" b="1" u="sng" dirty="0">
                          <a:solidFill>
                            <a:srgbClr val="0000CC"/>
                          </a:solidFill>
                          <a:latin typeface="+mn-lt"/>
                        </a:rPr>
                        <a:t>Nově diagnostikovaní ve věku 65+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sz="3600" b="1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86166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2400" b="0" i="0" u="none" strike="noStrike" dirty="0">
                          <a:solidFill>
                            <a:srgbClr val="0000CC"/>
                          </a:solidFill>
                          <a:effectLst/>
                          <a:latin typeface="Calibri" panose="020F0502020204030204" pitchFamily="34" charset="0"/>
                        </a:rPr>
                        <a:t>Za uplynulé 3 dny: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2400" b="0" i="0" u="none" strike="noStrike" dirty="0">
                          <a:solidFill>
                            <a:srgbClr val="0000CC"/>
                          </a:solidFill>
                          <a:effectLst/>
                          <a:latin typeface="Calibri" panose="020F0502020204030204" pitchFamily="34" charset="0"/>
                        </a:rPr>
                        <a:t>4 751</a:t>
                      </a: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82939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2400" b="0" i="0" u="none" strike="noStrike" dirty="0">
                          <a:solidFill>
                            <a:srgbClr val="0000CC"/>
                          </a:solidFill>
                          <a:effectLst/>
                          <a:latin typeface="Calibri" panose="020F0502020204030204" pitchFamily="34" charset="0"/>
                        </a:rPr>
                        <a:t>Za uplynulých 7 dní: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2400" b="0" i="0" u="none" strike="noStrike" dirty="0">
                          <a:solidFill>
                            <a:srgbClr val="0000CC"/>
                          </a:solidFill>
                          <a:effectLst/>
                          <a:latin typeface="Calibri" panose="020F0502020204030204" pitchFamily="34" charset="0"/>
                        </a:rPr>
                        <a:t>11 083</a:t>
                      </a: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88340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2400" b="0" i="0" u="none" strike="noStrike" dirty="0">
                          <a:solidFill>
                            <a:srgbClr val="0000CC"/>
                          </a:solidFill>
                          <a:effectLst/>
                          <a:latin typeface="Calibri" panose="020F0502020204030204" pitchFamily="34" charset="0"/>
                        </a:rPr>
                        <a:t>Za uplynulých 14 dní: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2400" b="0" i="0" u="none" strike="noStrike" dirty="0">
                          <a:solidFill>
                            <a:srgbClr val="0000CC"/>
                          </a:solidFill>
                          <a:effectLst/>
                          <a:latin typeface="Calibri" panose="020F0502020204030204" pitchFamily="34" charset="0"/>
                        </a:rPr>
                        <a:t>22 058</a:t>
                      </a: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50741784"/>
                  </a:ext>
                </a:extLst>
              </a:tr>
            </a:tbl>
          </a:graphicData>
        </a:graphic>
      </p:graphicFrame>
      <p:sp>
        <p:nvSpPr>
          <p:cNvPr id="14" name="TextovéPole 13">
            <a:extLst>
              <a:ext uri="{FF2B5EF4-FFF2-40B4-BE49-F238E27FC236}">
                <a16:creationId xmlns:a16="http://schemas.microsoft.com/office/drawing/2014/main" id="{7C764D1A-68C2-47CF-9E50-A28EB0F2ED2D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419690" y="76563"/>
            <a:ext cx="1133450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nově nakažených potenciálně zranitelných pacientů je stále velmi vysoký,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ž se následně promítá i do rizikového vývoje zátěže nemocnic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EA269EE1-023D-4923-A274-306C012431E7}"/>
              </a:ext>
            </a:extLst>
          </p:cNvPr>
          <p:cNvSpPr txBox="1"/>
          <p:nvPr/>
        </p:nvSpPr>
        <p:spPr>
          <a:xfrm rot="16200000">
            <a:off x="-1310973" y="4539702"/>
            <a:ext cx="30919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ty nových případů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EC742231-615E-4E8B-AFFB-45B5BC43D9DD}"/>
              </a:ext>
            </a:extLst>
          </p:cNvPr>
          <p:cNvSpPr txBox="1"/>
          <p:nvPr/>
        </p:nvSpPr>
        <p:spPr>
          <a:xfrm>
            <a:off x="1312564" y="3464186"/>
            <a:ext cx="6364410" cy="923330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ě přibývá v prevalenci průměrně cca 1650 potenciálně zranitelných nově nakažených osob ve věku 65+. Rostoucí zásah těchto populačních skupin nevyhnutelně navýší zátěž nemocnic. 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1889288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Chart 4">
            <a:extLst>
              <a:ext uri="{FF2B5EF4-FFF2-40B4-BE49-F238E27FC236}">
                <a16:creationId xmlns:a16="http://schemas.microsoft.com/office/drawing/2014/main" id="{9AF1149A-F1B9-4CB9-B9E4-22E79827FFC4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0108402"/>
              </p:ext>
            </p:extLst>
          </p:nvPr>
        </p:nvGraphicFramePr>
        <p:xfrm>
          <a:off x="95247" y="2824205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F6760814-172C-4672-90AC-AA94974D694C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222176" y="1424202"/>
            <a:ext cx="2362704" cy="830997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pulace seniorů 75+ let</a:t>
            </a:r>
          </a:p>
        </p:txBody>
      </p:sp>
      <p:graphicFrame>
        <p:nvGraphicFramePr>
          <p:cNvPr id="9" name="Tabulka 3">
            <a:extLst>
              <a:ext uri="{FF2B5EF4-FFF2-40B4-BE49-F238E27FC236}">
                <a16:creationId xmlns:a16="http://schemas.microsoft.com/office/drawing/2014/main" id="{0F35BB23-A576-4B7D-97C2-3C5A820C263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5550124" y="1085701"/>
          <a:ext cx="4551676" cy="15773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03642">
                  <a:extLst>
                    <a:ext uri="{9D8B030D-6E8A-4147-A177-3AD203B41FA5}">
                      <a16:colId xmlns:a16="http://schemas.microsoft.com/office/drawing/2014/main" val="653187899"/>
                    </a:ext>
                  </a:extLst>
                </a:gridCol>
                <a:gridCol w="1348034">
                  <a:extLst>
                    <a:ext uri="{9D8B030D-6E8A-4147-A177-3AD203B41FA5}">
                      <a16:colId xmlns:a16="http://schemas.microsoft.com/office/drawing/2014/main" val="3486415745"/>
                    </a:ext>
                  </a:extLst>
                </a:gridCol>
              </a:tblGrid>
              <a:tr h="370840">
                <a:tc gridSpan="2">
                  <a:txBody>
                    <a:bodyPr/>
                    <a:lstStyle/>
                    <a:p>
                      <a:pPr marL="0" marR="0" lvl="2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2400" b="1" u="sng" dirty="0">
                          <a:solidFill>
                            <a:srgbClr val="0000CC"/>
                          </a:solidFill>
                          <a:latin typeface="+mn-lt"/>
                        </a:rPr>
                        <a:t>Nově diagnostikovaní ve věku 75+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sz="3600" b="1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86166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2400" b="0" i="0" u="none" strike="noStrike" dirty="0">
                          <a:solidFill>
                            <a:srgbClr val="0000CC"/>
                          </a:solidFill>
                          <a:effectLst/>
                          <a:latin typeface="Calibri" panose="020F0502020204030204" pitchFamily="34" charset="0"/>
                        </a:rPr>
                        <a:t>Za uplynulé 3 dny: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2400" b="0" i="0" u="none" strike="noStrike" dirty="0">
                          <a:solidFill>
                            <a:srgbClr val="0000CC"/>
                          </a:solidFill>
                          <a:effectLst/>
                          <a:latin typeface="Calibri" panose="020F0502020204030204" pitchFamily="34" charset="0"/>
                        </a:rPr>
                        <a:t>1 613</a:t>
                      </a: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82939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2400" b="0" i="0" u="none" strike="noStrike" dirty="0">
                          <a:solidFill>
                            <a:srgbClr val="0000CC"/>
                          </a:solidFill>
                          <a:effectLst/>
                          <a:latin typeface="Calibri" panose="020F0502020204030204" pitchFamily="34" charset="0"/>
                        </a:rPr>
                        <a:t>Za uplynulých 7 dní: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2400" b="0" i="0" u="none" strike="noStrike" dirty="0">
                          <a:solidFill>
                            <a:srgbClr val="0000CC"/>
                          </a:solidFill>
                          <a:effectLst/>
                          <a:latin typeface="Calibri" panose="020F0502020204030204" pitchFamily="34" charset="0"/>
                        </a:rPr>
                        <a:t>3 873</a:t>
                      </a: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88340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2400" b="0" i="0" u="none" strike="noStrike" dirty="0">
                          <a:solidFill>
                            <a:srgbClr val="0000CC"/>
                          </a:solidFill>
                          <a:effectLst/>
                          <a:latin typeface="Calibri" panose="020F0502020204030204" pitchFamily="34" charset="0"/>
                        </a:rPr>
                        <a:t>Za uplynulých 14 dní: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2400" b="0" i="0" u="none" strike="noStrike" dirty="0">
                          <a:solidFill>
                            <a:srgbClr val="0000CC"/>
                          </a:solidFill>
                          <a:effectLst/>
                          <a:latin typeface="Calibri" panose="020F0502020204030204" pitchFamily="34" charset="0"/>
                        </a:rPr>
                        <a:t>7 983</a:t>
                      </a: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50741784"/>
                  </a:ext>
                </a:extLst>
              </a:tr>
            </a:tbl>
          </a:graphicData>
        </a:graphic>
      </p:graphicFrame>
      <p:sp>
        <p:nvSpPr>
          <p:cNvPr id="2" name="TextovéPole 1">
            <a:extLst>
              <a:ext uri="{FF2B5EF4-FFF2-40B4-BE49-F238E27FC236}">
                <a16:creationId xmlns:a16="http://schemas.microsoft.com/office/drawing/2014/main" id="{D668D582-D330-47D5-8857-61880561C17E}"/>
              </a:ext>
            </a:extLst>
          </p:cNvPr>
          <p:cNvSpPr txBox="1"/>
          <p:nvPr/>
        </p:nvSpPr>
        <p:spPr>
          <a:xfrm rot="16200000">
            <a:off x="-1310973" y="4539702"/>
            <a:ext cx="30919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ty nových případů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0392DBB0-7E04-425F-9093-66B9F3FEF462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419690" y="76563"/>
            <a:ext cx="1133450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nově nakažených potenciálně zranitelných pacientů je stále velmi vysoký,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ž se následně promítá i do rizikového vývoje zátěže nemocnic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AE187C69-6C85-4029-BE64-DA720F66C060}"/>
              </a:ext>
            </a:extLst>
          </p:cNvPr>
          <p:cNvSpPr txBox="1"/>
          <p:nvPr/>
        </p:nvSpPr>
        <p:spPr>
          <a:xfrm>
            <a:off x="1312564" y="3464186"/>
            <a:ext cx="6364410" cy="923330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ě přibývá v prevalenci průměrně cca 600 potenciálně zranitelných nově nakažených osob ve věku 75+. Rostoucí zásah těchto populačních skupin nevyhnutelně navýší zátěž nemocnic. 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7415391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143346" y="3693109"/>
            <a:ext cx="11905307" cy="2317166"/>
          </a:xfrm>
        </p:spPr>
        <p:txBody>
          <a:bodyPr>
            <a:normAutofit/>
          </a:bodyPr>
          <a:lstStyle/>
          <a:p>
            <a:r>
              <a:rPr lang="cs-CZ" sz="4800" b="1" dirty="0"/>
              <a:t>Stručný souhrn a hlavní rizikové faktory</a:t>
            </a:r>
            <a:endParaRPr lang="cs-CZ" sz="4600" i="1" dirty="0"/>
          </a:p>
        </p:txBody>
      </p:sp>
    </p:spTree>
    <p:extLst>
      <p:ext uri="{BB962C8B-B14F-4D97-AF65-F5344CB8AC3E}">
        <p14:creationId xmlns:p14="http://schemas.microsoft.com/office/powerpoint/2010/main" val="93636947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/>
          <p:cNvSpPr/>
          <p:nvPr>
            <p:custDataLst>
              <p:tags r:id="rId1"/>
            </p:custDataLst>
          </p:nvPr>
        </p:nvSpPr>
        <p:spPr>
          <a:xfrm>
            <a:off x="169682" y="18010"/>
            <a:ext cx="1188645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aždodenní aktualizace „Risk </a:t>
            </a:r>
            <a:r>
              <a:rPr kumimoji="0" lang="cs-CZ" sz="30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pping</a:t>
            </a:r>
            <a:r>
              <a:rPr kumimoji="0" lang="cs-CZ" sz="3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“ pro KKIP</a:t>
            </a:r>
            <a:endParaRPr kumimoji="0" lang="cs-CZ" sz="3000" b="0" i="1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87D15109-0AE5-417E-94F8-756A87AE01EE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56155" y="5860580"/>
            <a:ext cx="11138430" cy="646331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highlight>
                  <a:srgbClr val="FF0000"/>
                </a:highlight>
                <a:uLnTx/>
                <a:uFillTx/>
                <a:latin typeface="Calibri" panose="020F0502020204030204"/>
                <a:ea typeface="+mn-ea"/>
                <a:cs typeface="+mn-cs"/>
              </a:rPr>
              <a:t>ČR: V následujících cca 10 – 14 dnech je stále nutné očekávat až &gt; 700 nových příjmů do nemocnic denně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highlight>
                  <a:srgbClr val="FF0000"/>
                </a:highlight>
                <a:uLnTx/>
                <a:uFillTx/>
                <a:latin typeface="Calibri" panose="020F0502020204030204"/>
                <a:ea typeface="+mn-ea"/>
                <a:cs typeface="+mn-cs"/>
              </a:rPr>
              <a:t>(aktuální průměr v pracovních dnech je cca 720). V těžkém stavu bude denně přijímáno až &gt; 110 pacientů. 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highlight>
                <a:srgbClr val="FF0000"/>
              </a:highlight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" name="Obrázek 1">
            <a:extLst>
              <a:ext uri="{FF2B5EF4-FFF2-40B4-BE49-F238E27FC236}">
                <a16:creationId xmlns:a16="http://schemas.microsoft.com/office/drawing/2014/main" id="{455EE1F1-E3D1-42BB-8C29-FE1222EAD0A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9682" y="674254"/>
            <a:ext cx="11761393" cy="48675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256079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9337041" cy="576000"/>
          </a:xfrm>
        </p:spPr>
        <p:txBody>
          <a:bodyPr/>
          <a:lstStyle/>
          <a:p>
            <a:r>
              <a:rPr lang="cs-CZ" dirty="0">
                <a:latin typeface="+mn-lt"/>
              </a:rPr>
              <a:t>Predikovaný počet </a:t>
            </a:r>
            <a:r>
              <a:rPr lang="cs-CZ" u="sng" dirty="0">
                <a:latin typeface="+mn-lt"/>
              </a:rPr>
              <a:t>nových hospitalizačních</a:t>
            </a:r>
            <a:r>
              <a:rPr lang="cs-CZ" dirty="0">
                <a:latin typeface="+mn-lt"/>
              </a:rPr>
              <a:t> případů (denní příjmy do nemocnic)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30D37DF-B158-4FF6-B3AF-9F71D8756D6C}"/>
              </a:ext>
            </a:extLst>
          </p:cNvPr>
          <p:cNvSpPr/>
          <p:nvPr/>
        </p:nvSpPr>
        <p:spPr>
          <a:xfrm rot="16200000">
            <a:off x="-1828607" y="3049018"/>
            <a:ext cx="418576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nových hospitalizačních případů </a:t>
            </a:r>
          </a:p>
        </p:txBody>
      </p:sp>
      <p:sp>
        <p:nvSpPr>
          <p:cNvPr id="15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13190" y="6079447"/>
            <a:ext cx="818433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 </a:t>
            </a:r>
          </a:p>
        </p:txBody>
      </p:sp>
      <p:sp>
        <p:nvSpPr>
          <p:cNvPr id="24" name="Rectangle 4">
            <a:extLst>
              <a:ext uri="{FF2B5EF4-FFF2-40B4-BE49-F238E27FC236}">
                <a16:creationId xmlns:a16="http://schemas.microsoft.com/office/drawing/2014/main" id="{855F0C91-5B1C-4CAE-A964-37541F09E87E}"/>
              </a:ext>
            </a:extLst>
          </p:cNvPr>
          <p:cNvSpPr/>
          <p:nvPr/>
        </p:nvSpPr>
        <p:spPr>
          <a:xfrm>
            <a:off x="6196840" y="782308"/>
            <a:ext cx="407900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scénáře modelu SEIRV*:</a:t>
            </a:r>
          </a:p>
        </p:txBody>
      </p:sp>
      <p:sp>
        <p:nvSpPr>
          <p:cNvPr id="29" name="TextovéPole 25">
            <a:extLst>
              <a:ext uri="{FF2B5EF4-FFF2-40B4-BE49-F238E27FC236}">
                <a16:creationId xmlns:a16="http://schemas.microsoft.com/office/drawing/2014/main" id="{DAABB46D-3176-451E-80AD-227ACB80C3C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8236341" y="5107474"/>
            <a:ext cx="3899632" cy="93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Model počítá o</a:t>
            </a:r>
            <a:r>
              <a:rPr kumimoji="0" lang="cs-CZ" sz="110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 1.9. s normálními kontakty a dílčím zvýšením základní reprodukce v důsledku sezónnosti, s větší eskalací v průběhu října. Od 25.10. uvažovaný dopad podzimních prázdnin a dílčího zpřísnění opatření, snížení kontaktů a základní reprodukce o </a:t>
            </a:r>
            <a:r>
              <a:rPr kumimoji="0" lang="cs-CZ" sz="1100" b="0" i="1" u="sng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 %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  <a:endParaRPr kumimoji="0" lang="cs-CZ" sz="1100" b="0" i="1" u="sng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8357FBF-827C-445F-9DAB-6997B6CCAC3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3204594" y="939567"/>
            <a:ext cx="604008" cy="24861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6" name="TextovéPole 29">
            <a:extLst>
              <a:ext uri="{FF2B5EF4-FFF2-40B4-BE49-F238E27FC236}">
                <a16:creationId xmlns:a16="http://schemas.microsoft.com/office/drawing/2014/main" id="{7D246704-7A32-4BAF-A745-D101A7CE8274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8469911" y="2846604"/>
            <a:ext cx="3642482" cy="43088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cénář II: rizikový vývoj s významnými zdravotními dopady, střední další růst</a:t>
            </a:r>
          </a:p>
        </p:txBody>
      </p:sp>
      <p:sp>
        <p:nvSpPr>
          <p:cNvPr id="27" name="TextovéPole 30">
            <a:extLst>
              <a:ext uri="{FF2B5EF4-FFF2-40B4-BE49-F238E27FC236}">
                <a16:creationId xmlns:a16="http://schemas.microsoft.com/office/drawing/2014/main" id="{8DED9F3E-7048-4F0C-A328-13139CFB85A1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469911" y="4564358"/>
            <a:ext cx="3642482" cy="43088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cénář I: rizikový vývoj s významnými zdravotními dopady, nízký další růst</a:t>
            </a:r>
          </a:p>
        </p:txBody>
      </p:sp>
      <p:sp>
        <p:nvSpPr>
          <p:cNvPr id="28" name="TextovéPole 29">
            <a:extLst>
              <a:ext uri="{FF2B5EF4-FFF2-40B4-BE49-F238E27FC236}">
                <a16:creationId xmlns:a16="http://schemas.microsoft.com/office/drawing/2014/main" id="{B34802EC-09C6-4F42-815E-75908ABF2794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469911" y="1210292"/>
            <a:ext cx="3642482" cy="43088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cénář III: rizikový vývoj s významnými zdravotními dopady, významný další růst</a:t>
            </a:r>
          </a:p>
        </p:txBody>
      </p:sp>
      <p:cxnSp>
        <p:nvCxnSpPr>
          <p:cNvPr id="31" name="Přímá spojnice 32">
            <a:extLst>
              <a:ext uri="{FF2B5EF4-FFF2-40B4-BE49-F238E27FC236}">
                <a16:creationId xmlns:a16="http://schemas.microsoft.com/office/drawing/2014/main" id="{A0B84346-628A-440C-8D5D-933397A1F73A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>
          <a:xfrm>
            <a:off x="7981523" y="3006415"/>
            <a:ext cx="432000" cy="0"/>
          </a:xfrm>
          <a:prstGeom prst="line">
            <a:avLst/>
          </a:prstGeom>
          <a:ln w="38100">
            <a:solidFill>
              <a:srgbClr val="0070C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Přímá spojnice 33">
            <a:extLst>
              <a:ext uri="{FF2B5EF4-FFF2-40B4-BE49-F238E27FC236}">
                <a16:creationId xmlns:a16="http://schemas.microsoft.com/office/drawing/2014/main" id="{E0D0A1EA-6D43-4BCE-843C-E7BA8B06E3C1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>
            <a:off x="7981523" y="4718707"/>
            <a:ext cx="432000" cy="0"/>
          </a:xfrm>
          <a:prstGeom prst="line">
            <a:avLst/>
          </a:prstGeom>
          <a:ln w="38100">
            <a:solidFill>
              <a:srgbClr val="FF99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Přímá spojnice 20">
            <a:extLst>
              <a:ext uri="{FF2B5EF4-FFF2-40B4-BE49-F238E27FC236}">
                <a16:creationId xmlns:a16="http://schemas.microsoft.com/office/drawing/2014/main" id="{65F24208-3A66-4BC0-A6F9-7861D97A7190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>
          <a:xfrm>
            <a:off x="7981523" y="1362286"/>
            <a:ext cx="432000" cy="0"/>
          </a:xfrm>
          <a:prstGeom prst="line">
            <a:avLst/>
          </a:prstGeom>
          <a:ln w="38100">
            <a:solidFill>
              <a:srgbClr val="FF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ovéPole 25">
            <a:extLst>
              <a:ext uri="{FF2B5EF4-FFF2-40B4-BE49-F238E27FC236}">
                <a16:creationId xmlns:a16="http://schemas.microsoft.com/office/drawing/2014/main" id="{F6EE3EAD-CE85-4E00-9B6A-C72940F4A7C8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8236341" y="3299969"/>
            <a:ext cx="3899632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Model počítá o</a:t>
            </a:r>
            <a:r>
              <a:rPr kumimoji="0" lang="cs-CZ" sz="110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 1.9. s normálními kontakty a dílčím zvýšením základní reprodukce v důsledku sezónnosti, s větší eskalací v průběhu října. Od 25.10. uvažovaný dopad podzimních prázdnin a dílčího zpřísnění opatření, snížení kontaktů a základní reprodukce o </a:t>
            </a:r>
            <a:r>
              <a:rPr kumimoji="0" lang="cs-CZ" sz="1100" b="0" i="1" u="sng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 %. Od listopadu se počítá opět s dílčím zvýšením počtu kontaktů.</a:t>
            </a:r>
          </a:p>
        </p:txBody>
      </p:sp>
      <p:sp>
        <p:nvSpPr>
          <p:cNvPr id="20" name="TextovéPole 25">
            <a:extLst>
              <a:ext uri="{FF2B5EF4-FFF2-40B4-BE49-F238E27FC236}">
                <a16:creationId xmlns:a16="http://schemas.microsoft.com/office/drawing/2014/main" id="{775BF37A-7C8D-4F93-8A35-D20D3EA538B2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8292368" y="1662332"/>
            <a:ext cx="3899632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Model počítá o</a:t>
            </a:r>
            <a:r>
              <a:rPr kumimoji="0" lang="cs-CZ" sz="110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 1.9. s normálními kontakty a dílčím zvýšením základní reprodukce v důsledku sezónnosti, s větší eskalací v průběhu října. Od 25.10. uvažovaný dopad podzimních prázdnin a dílčího zpřísnění opatření, snížení kontaktů a základní reprodukce o </a:t>
            </a:r>
            <a:r>
              <a:rPr kumimoji="0" lang="cs-CZ" sz="1100" b="0" i="1" u="sng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 %. Od listopadu se počítá opět s významnějším zvýšením počtu kontaktů.</a:t>
            </a:r>
          </a:p>
        </p:txBody>
      </p:sp>
      <p:graphicFrame>
        <p:nvGraphicFramePr>
          <p:cNvPr id="17" name="Chart 16">
            <a:extLst>
              <a:ext uri="{FF2B5EF4-FFF2-40B4-BE49-F238E27FC236}">
                <a16:creationId xmlns:a16="http://schemas.microsoft.com/office/drawing/2014/main" id="{44E11B39-2C45-4539-B0BD-5905477A04D0}"/>
              </a:ext>
            </a:extLst>
          </p:cNvPr>
          <p:cNvGraphicFramePr/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90091809"/>
              </p:ext>
            </p:extLst>
          </p:nvPr>
        </p:nvGraphicFramePr>
        <p:xfrm>
          <a:off x="488124" y="723656"/>
          <a:ext cx="7581678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cxnSp>
        <p:nvCxnSpPr>
          <p:cNvPr id="21" name="Přímá spojnice se šipkou 20">
            <a:extLst>
              <a:ext uri="{FF2B5EF4-FFF2-40B4-BE49-F238E27FC236}">
                <a16:creationId xmlns:a16="http://schemas.microsoft.com/office/drawing/2014/main" id="{00639BDE-0DE0-4167-BB58-A0DBF4C25BED}"/>
              </a:ext>
            </a:extLst>
          </p:cNvPr>
          <p:cNvCxnSpPr/>
          <p:nvPr/>
        </p:nvCxnSpPr>
        <p:spPr>
          <a:xfrm>
            <a:off x="1097280" y="2665442"/>
            <a:ext cx="5468112" cy="0"/>
          </a:xfrm>
          <a:prstGeom prst="straightConnector1">
            <a:avLst/>
          </a:prstGeom>
          <a:ln w="57150">
            <a:solidFill>
              <a:srgbClr val="D31145"/>
            </a:solidFill>
            <a:prstDash val="dash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ovéPole 21">
            <a:extLst>
              <a:ext uri="{FF2B5EF4-FFF2-40B4-BE49-F238E27FC236}">
                <a16:creationId xmlns:a16="http://schemas.microsoft.com/office/drawing/2014/main" id="{E703DEC6-27A3-4793-B241-3A69998F528B}"/>
              </a:ext>
            </a:extLst>
          </p:cNvPr>
          <p:cNvSpPr txBox="1"/>
          <p:nvPr/>
        </p:nvSpPr>
        <p:spPr>
          <a:xfrm>
            <a:off x="1261548" y="1901475"/>
            <a:ext cx="4490099" cy="646331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iziková struktura prevalence nově nakažených s vysokou pravděpodobností navýší zátěž nemocnic. V následujícím období je nutné stále očekávat až &gt; 700 nových příjmů do nemocnic denně. </a:t>
            </a:r>
            <a:endParaRPr kumimoji="0" lang="en-US" sz="1200" b="1" i="1" u="sng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2503099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9337041" cy="576000"/>
          </a:xfrm>
        </p:spPr>
        <p:txBody>
          <a:bodyPr/>
          <a:lstStyle/>
          <a:p>
            <a:r>
              <a:rPr lang="cs-CZ" dirty="0">
                <a:latin typeface="+mn-lt"/>
              </a:rPr>
              <a:t>Predikovaný celkový počet </a:t>
            </a:r>
            <a:r>
              <a:rPr lang="cs-CZ" u="sng" dirty="0">
                <a:latin typeface="+mn-lt"/>
              </a:rPr>
              <a:t>aktuálně hospitalizovaných</a:t>
            </a:r>
            <a:endParaRPr lang="cs-CZ" dirty="0">
              <a:latin typeface="+mn-lt"/>
            </a:endParaRP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4881953E-570E-4182-9AFA-D9A699C6849D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22354177"/>
              </p:ext>
            </p:extLst>
          </p:nvPr>
        </p:nvGraphicFramePr>
        <p:xfrm>
          <a:off x="488124" y="723656"/>
          <a:ext cx="7581678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sp>
        <p:nvSpPr>
          <p:cNvPr id="23" name="Rectangle 22">
            <a:extLst>
              <a:ext uri="{FF2B5EF4-FFF2-40B4-BE49-F238E27FC236}">
                <a16:creationId xmlns:a16="http://schemas.microsoft.com/office/drawing/2014/main" id="{830D37DF-B158-4FF6-B3AF-9F71D8756D6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16200000">
            <a:off x="-1533651" y="3049018"/>
            <a:ext cx="359585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aktuálně hospitalizovaných</a:t>
            </a:r>
          </a:p>
        </p:txBody>
      </p:sp>
      <p:sp>
        <p:nvSpPr>
          <p:cNvPr id="24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13190" y="6079447"/>
            <a:ext cx="818433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 </a:t>
            </a:r>
          </a:p>
        </p:txBody>
      </p:sp>
      <p:sp>
        <p:nvSpPr>
          <p:cNvPr id="29" name="Rectangle 4">
            <a:extLst>
              <a:ext uri="{FF2B5EF4-FFF2-40B4-BE49-F238E27FC236}">
                <a16:creationId xmlns:a16="http://schemas.microsoft.com/office/drawing/2014/main" id="{1216A610-1C1B-4C6D-A6AC-9F1F0A77424F}"/>
              </a:ext>
            </a:extLst>
          </p:cNvPr>
          <p:cNvSpPr/>
          <p:nvPr/>
        </p:nvSpPr>
        <p:spPr>
          <a:xfrm>
            <a:off x="6196840" y="782308"/>
            <a:ext cx="407900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scénáře modelu SEIRV*:</a:t>
            </a:r>
          </a:p>
        </p:txBody>
      </p:sp>
      <p:sp>
        <p:nvSpPr>
          <p:cNvPr id="36" name="TextovéPole 25">
            <a:extLst>
              <a:ext uri="{FF2B5EF4-FFF2-40B4-BE49-F238E27FC236}">
                <a16:creationId xmlns:a16="http://schemas.microsoft.com/office/drawing/2014/main" id="{7EF37A7E-DBC1-41F2-88DA-0DB6F0B219F0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236341" y="5107474"/>
            <a:ext cx="3899632" cy="93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Model počítá o</a:t>
            </a:r>
            <a:r>
              <a:rPr kumimoji="0" lang="cs-CZ" sz="110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 1.9. s normálními kontakty a dílčím zvýšením základní reprodukce v důsledku sezónnosti, s větší eskalací v průběhu října. Od 25.10. uvažovaný dopad podzimních prázdnin a dílčího zpřísnění opatření, snížení kontaktů a základní reprodukce o </a:t>
            </a:r>
            <a:r>
              <a:rPr kumimoji="0" lang="cs-CZ" sz="1100" b="0" i="1" u="sng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 %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  <a:endParaRPr kumimoji="0" lang="cs-CZ" sz="1100" b="0" i="1" u="sng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8" name="TextovéPole 29">
            <a:extLst>
              <a:ext uri="{FF2B5EF4-FFF2-40B4-BE49-F238E27FC236}">
                <a16:creationId xmlns:a16="http://schemas.microsoft.com/office/drawing/2014/main" id="{34497C41-6B1B-44B9-A0BE-49E7332BC286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469911" y="2846604"/>
            <a:ext cx="3642482" cy="43088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cénář II: rizikový vývoj s významnými zdravotními dopady, střední další růst</a:t>
            </a:r>
          </a:p>
        </p:txBody>
      </p:sp>
      <p:sp>
        <p:nvSpPr>
          <p:cNvPr id="39" name="TextovéPole 30">
            <a:extLst>
              <a:ext uri="{FF2B5EF4-FFF2-40B4-BE49-F238E27FC236}">
                <a16:creationId xmlns:a16="http://schemas.microsoft.com/office/drawing/2014/main" id="{4C35E0D9-E070-4FD2-B820-DDF5E143F38D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469911" y="4564358"/>
            <a:ext cx="3642482" cy="43088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cénář I: rizikový vývoj s významnými zdravotními dopady, nízký další růst</a:t>
            </a:r>
          </a:p>
        </p:txBody>
      </p:sp>
      <p:sp>
        <p:nvSpPr>
          <p:cNvPr id="40" name="TextovéPole 29">
            <a:extLst>
              <a:ext uri="{FF2B5EF4-FFF2-40B4-BE49-F238E27FC236}">
                <a16:creationId xmlns:a16="http://schemas.microsoft.com/office/drawing/2014/main" id="{2CE6E556-8582-434A-BE0C-8312CFF948EF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8469911" y="1210292"/>
            <a:ext cx="3642482" cy="43088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cénář III: rizikový vývoj s významnými zdravotními dopady, významný další růst</a:t>
            </a:r>
          </a:p>
        </p:txBody>
      </p:sp>
      <p:cxnSp>
        <p:nvCxnSpPr>
          <p:cNvPr id="41" name="Přímá spojnice 32">
            <a:extLst>
              <a:ext uri="{FF2B5EF4-FFF2-40B4-BE49-F238E27FC236}">
                <a16:creationId xmlns:a16="http://schemas.microsoft.com/office/drawing/2014/main" id="{4EBE73E0-8378-4335-B6C3-998707A6387A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>
          <a:xfrm>
            <a:off x="7981523" y="3006415"/>
            <a:ext cx="432000" cy="0"/>
          </a:xfrm>
          <a:prstGeom prst="line">
            <a:avLst/>
          </a:prstGeom>
          <a:ln w="38100">
            <a:solidFill>
              <a:srgbClr val="0070C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Přímá spojnice 33">
            <a:extLst>
              <a:ext uri="{FF2B5EF4-FFF2-40B4-BE49-F238E27FC236}">
                <a16:creationId xmlns:a16="http://schemas.microsoft.com/office/drawing/2014/main" id="{74F47D70-52F3-4880-A4A1-51BDDE2CE0DC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>
          <a:xfrm>
            <a:off x="7981523" y="4718707"/>
            <a:ext cx="432000" cy="0"/>
          </a:xfrm>
          <a:prstGeom prst="line">
            <a:avLst/>
          </a:prstGeom>
          <a:ln w="38100">
            <a:solidFill>
              <a:srgbClr val="FF99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Přímá spojnice 20">
            <a:extLst>
              <a:ext uri="{FF2B5EF4-FFF2-40B4-BE49-F238E27FC236}">
                <a16:creationId xmlns:a16="http://schemas.microsoft.com/office/drawing/2014/main" id="{2A3A39DC-A651-46C6-9504-6C2BCBD0D1CE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>
          <a:xfrm>
            <a:off x="7981523" y="1362286"/>
            <a:ext cx="432000" cy="0"/>
          </a:xfrm>
          <a:prstGeom prst="line">
            <a:avLst/>
          </a:prstGeom>
          <a:ln w="38100">
            <a:solidFill>
              <a:srgbClr val="FF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ovéPole 25">
            <a:extLst>
              <a:ext uri="{FF2B5EF4-FFF2-40B4-BE49-F238E27FC236}">
                <a16:creationId xmlns:a16="http://schemas.microsoft.com/office/drawing/2014/main" id="{7A58A352-97F1-40D8-898B-E446FD5BF897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8236341" y="3299969"/>
            <a:ext cx="3899632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Model počítá o</a:t>
            </a:r>
            <a:r>
              <a:rPr kumimoji="0" lang="cs-CZ" sz="110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 1.9. s normálními kontakty a dílčím zvýšením základní reprodukce v důsledku sezónnosti, s větší eskalací v průběhu října. Od 25.10. uvažovaný dopad podzimních prázdnin a dílčího zpřísnění opatření, snížení kontaktů a základní reprodukce o </a:t>
            </a:r>
            <a:r>
              <a:rPr kumimoji="0" lang="cs-CZ" sz="1100" b="0" i="1" u="sng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 %. Od listopadu se počítá opět s dílčím zvýšením počtu kontaktů.</a:t>
            </a:r>
          </a:p>
        </p:txBody>
      </p:sp>
      <p:sp>
        <p:nvSpPr>
          <p:cNvPr id="45" name="TextovéPole 25">
            <a:extLst>
              <a:ext uri="{FF2B5EF4-FFF2-40B4-BE49-F238E27FC236}">
                <a16:creationId xmlns:a16="http://schemas.microsoft.com/office/drawing/2014/main" id="{D2B0B317-C26B-437B-BC44-437C880A11A1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8292368" y="1662332"/>
            <a:ext cx="3899632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Model počítá o</a:t>
            </a:r>
            <a:r>
              <a:rPr kumimoji="0" lang="cs-CZ" sz="110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 1.9. s normálními kontakty a dílčím zvýšením základní reprodukce v důsledku sezónnosti, s větší eskalací v průběhu října. Od 25.10. uvažovaný dopad podzimních prázdnin a dílčího zpřísnění opatření, snížení kontaktů a základní reprodukce o </a:t>
            </a:r>
            <a:r>
              <a:rPr kumimoji="0" lang="cs-CZ" sz="1100" b="0" i="1" u="sng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 %. Od listopadu se počítá opět s významnějším zvýšením počtu kontaktů.</a:t>
            </a:r>
          </a:p>
        </p:txBody>
      </p:sp>
      <p:cxnSp>
        <p:nvCxnSpPr>
          <p:cNvPr id="16" name="Přímá spojnice se šipkou 15">
            <a:extLst>
              <a:ext uri="{FF2B5EF4-FFF2-40B4-BE49-F238E27FC236}">
                <a16:creationId xmlns:a16="http://schemas.microsoft.com/office/drawing/2014/main" id="{07C5E6B9-9D2A-434B-A194-FD1B760C3078}"/>
              </a:ext>
            </a:extLst>
          </p:cNvPr>
          <p:cNvCxnSpPr/>
          <p:nvPr/>
        </p:nvCxnSpPr>
        <p:spPr>
          <a:xfrm>
            <a:off x="1285309" y="2770328"/>
            <a:ext cx="5468112" cy="0"/>
          </a:xfrm>
          <a:prstGeom prst="straightConnector1">
            <a:avLst/>
          </a:prstGeom>
          <a:ln w="57150">
            <a:solidFill>
              <a:srgbClr val="D31145"/>
            </a:solidFill>
            <a:prstDash val="dash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B99A7D99-C711-4F4B-9344-5F214CCF103E}"/>
              </a:ext>
            </a:extLst>
          </p:cNvPr>
          <p:cNvSpPr txBox="1"/>
          <p:nvPr/>
        </p:nvSpPr>
        <p:spPr>
          <a:xfrm>
            <a:off x="1299371" y="2009295"/>
            <a:ext cx="4490099" cy="646331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iziková struktura prevalence nově nakažených s vysokou pravděpodobností navýší zátěž nemocnic. V následujícím období je nadále nutné očekávat 6 000 – 7 000 hospitalizací v jeden den. </a:t>
            </a:r>
            <a:endParaRPr kumimoji="0" lang="en-US" sz="1200" b="1" i="1" u="sng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8442007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9337041" cy="576000"/>
          </a:xfrm>
        </p:spPr>
        <p:txBody>
          <a:bodyPr/>
          <a:lstStyle/>
          <a:p>
            <a:r>
              <a:rPr lang="cs-CZ" dirty="0">
                <a:latin typeface="+mn-lt"/>
              </a:rPr>
              <a:t>Predikovaný počet </a:t>
            </a:r>
            <a:r>
              <a:rPr lang="cs-CZ" u="sng" dirty="0">
                <a:latin typeface="+mn-lt"/>
              </a:rPr>
              <a:t>aktuálně hospitalizovaných</a:t>
            </a:r>
            <a:r>
              <a:rPr lang="en-US" u="sng" dirty="0">
                <a:latin typeface="+mn-lt"/>
              </a:rPr>
              <a:t> </a:t>
            </a:r>
            <a:r>
              <a:rPr lang="en-US" u="sng" dirty="0" err="1">
                <a:latin typeface="+mn-lt"/>
              </a:rPr>
              <a:t>na</a:t>
            </a:r>
            <a:r>
              <a:rPr lang="en-US" u="sng" dirty="0">
                <a:latin typeface="+mn-lt"/>
              </a:rPr>
              <a:t> JIP</a:t>
            </a:r>
            <a:endParaRPr lang="cs-CZ" dirty="0">
              <a:latin typeface="+mn-lt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30D37DF-B158-4FF6-B3AF-9F71D8756D6C}"/>
              </a:ext>
            </a:extLst>
          </p:cNvPr>
          <p:cNvSpPr/>
          <p:nvPr/>
        </p:nvSpPr>
        <p:spPr>
          <a:xfrm rot="16200000">
            <a:off x="-1924783" y="3049018"/>
            <a:ext cx="437812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aktuálně hospitalizovaných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 JIP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13190" y="6079447"/>
            <a:ext cx="818433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 </a:t>
            </a:r>
          </a:p>
        </p:txBody>
      </p:sp>
      <p:sp>
        <p:nvSpPr>
          <p:cNvPr id="21" name="Rectangle 4">
            <a:extLst>
              <a:ext uri="{FF2B5EF4-FFF2-40B4-BE49-F238E27FC236}">
                <a16:creationId xmlns:a16="http://schemas.microsoft.com/office/drawing/2014/main" id="{ECD00882-A348-4108-B506-6DBDE8494531}"/>
              </a:ext>
            </a:extLst>
          </p:cNvPr>
          <p:cNvSpPr/>
          <p:nvPr/>
        </p:nvSpPr>
        <p:spPr>
          <a:xfrm>
            <a:off x="6196840" y="782308"/>
            <a:ext cx="407900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scénáře modelu SEIRV*:</a:t>
            </a:r>
          </a:p>
        </p:txBody>
      </p:sp>
      <p:graphicFrame>
        <p:nvGraphicFramePr>
          <p:cNvPr id="17" name="Chart 16">
            <a:extLst>
              <a:ext uri="{FF2B5EF4-FFF2-40B4-BE49-F238E27FC236}">
                <a16:creationId xmlns:a16="http://schemas.microsoft.com/office/drawing/2014/main" id="{6A1A283C-4E32-4AB5-BAA8-37701DC8E705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20334429"/>
              </p:ext>
            </p:extLst>
          </p:nvPr>
        </p:nvGraphicFramePr>
        <p:xfrm>
          <a:off x="488124" y="723656"/>
          <a:ext cx="7581678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30" name="TextovéPole 25">
            <a:extLst>
              <a:ext uri="{FF2B5EF4-FFF2-40B4-BE49-F238E27FC236}">
                <a16:creationId xmlns:a16="http://schemas.microsoft.com/office/drawing/2014/main" id="{339FD5FC-2800-4F76-85EF-EE4791C89D17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8236341" y="5107474"/>
            <a:ext cx="3899632" cy="93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Model počítá o</a:t>
            </a:r>
            <a:r>
              <a:rPr kumimoji="0" lang="cs-CZ" sz="110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 1.9. s normálními kontakty a dílčím zvýšením základní reprodukce v důsledku sezónnosti, s větší eskalací v průběhu října. Od 25.10. uvažovaný dopad podzimních prázdnin a dílčího zpřísnění opatření, snížení kontaktů a základní reprodukce o </a:t>
            </a:r>
            <a:r>
              <a:rPr kumimoji="0" lang="cs-CZ" sz="1100" b="0" i="1" u="sng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 %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  <a:endParaRPr kumimoji="0" lang="cs-CZ" sz="1100" b="0" i="1" u="sng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3" name="TextovéPole 29">
            <a:extLst>
              <a:ext uri="{FF2B5EF4-FFF2-40B4-BE49-F238E27FC236}">
                <a16:creationId xmlns:a16="http://schemas.microsoft.com/office/drawing/2014/main" id="{605C5597-6F9A-433E-ABE2-B3BD82F3BC86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8469911" y="2846604"/>
            <a:ext cx="3642482" cy="43088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cénář II: rizikový vývoj s významnými zdravotními dopady, střední další růst</a:t>
            </a:r>
          </a:p>
        </p:txBody>
      </p:sp>
      <p:sp>
        <p:nvSpPr>
          <p:cNvPr id="39" name="TextovéPole 30">
            <a:extLst>
              <a:ext uri="{FF2B5EF4-FFF2-40B4-BE49-F238E27FC236}">
                <a16:creationId xmlns:a16="http://schemas.microsoft.com/office/drawing/2014/main" id="{B24AEAA5-0720-4A54-9613-92B3068CE9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469911" y="4564358"/>
            <a:ext cx="3642482" cy="43088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cénář I: rizikový vývoj s významnými zdravotními dopady, nízký další růst</a:t>
            </a:r>
          </a:p>
        </p:txBody>
      </p:sp>
      <p:sp>
        <p:nvSpPr>
          <p:cNvPr id="40" name="TextovéPole 29">
            <a:extLst>
              <a:ext uri="{FF2B5EF4-FFF2-40B4-BE49-F238E27FC236}">
                <a16:creationId xmlns:a16="http://schemas.microsoft.com/office/drawing/2014/main" id="{5771C07A-544D-4E92-8A2C-44E589702A82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469911" y="1210292"/>
            <a:ext cx="3642482" cy="43088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cénář III: rizikový vývoj s významnými zdravotními dopady, významný další růst</a:t>
            </a:r>
          </a:p>
        </p:txBody>
      </p:sp>
      <p:cxnSp>
        <p:nvCxnSpPr>
          <p:cNvPr id="41" name="Přímá spojnice 32">
            <a:extLst>
              <a:ext uri="{FF2B5EF4-FFF2-40B4-BE49-F238E27FC236}">
                <a16:creationId xmlns:a16="http://schemas.microsoft.com/office/drawing/2014/main" id="{18C66FA6-282C-49D4-B58D-88952D04828B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>
          <a:xfrm>
            <a:off x="7981523" y="3006415"/>
            <a:ext cx="432000" cy="0"/>
          </a:xfrm>
          <a:prstGeom prst="line">
            <a:avLst/>
          </a:prstGeom>
          <a:ln w="38100">
            <a:solidFill>
              <a:srgbClr val="0070C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Přímá spojnice 33">
            <a:extLst>
              <a:ext uri="{FF2B5EF4-FFF2-40B4-BE49-F238E27FC236}">
                <a16:creationId xmlns:a16="http://schemas.microsoft.com/office/drawing/2014/main" id="{8C6A790D-4CD9-4090-8A17-42D15C760FD5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>
            <a:off x="7981523" y="4718707"/>
            <a:ext cx="432000" cy="0"/>
          </a:xfrm>
          <a:prstGeom prst="line">
            <a:avLst/>
          </a:prstGeom>
          <a:ln w="38100">
            <a:solidFill>
              <a:srgbClr val="FF99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Přímá spojnice 20">
            <a:extLst>
              <a:ext uri="{FF2B5EF4-FFF2-40B4-BE49-F238E27FC236}">
                <a16:creationId xmlns:a16="http://schemas.microsoft.com/office/drawing/2014/main" id="{2C39BBFC-36CE-446E-A272-4D1DDDF03BC1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>
          <a:xfrm>
            <a:off x="7981523" y="1362286"/>
            <a:ext cx="432000" cy="0"/>
          </a:xfrm>
          <a:prstGeom prst="line">
            <a:avLst/>
          </a:prstGeom>
          <a:ln w="38100">
            <a:solidFill>
              <a:srgbClr val="FF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ovéPole 25">
            <a:extLst>
              <a:ext uri="{FF2B5EF4-FFF2-40B4-BE49-F238E27FC236}">
                <a16:creationId xmlns:a16="http://schemas.microsoft.com/office/drawing/2014/main" id="{EFAB691D-F7B3-4D59-92E8-0C11B267B243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8236341" y="3299969"/>
            <a:ext cx="3899632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Model počítá o</a:t>
            </a:r>
            <a:r>
              <a:rPr kumimoji="0" lang="cs-CZ" sz="110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 1.9. s normálními kontakty a dílčím zvýšením základní reprodukce v důsledku sezónnosti, s větší eskalací v průběhu října. Od 25.10. uvažovaný dopad podzimních prázdnin a dílčího zpřísnění opatření, snížení kontaktů a základní reprodukce o </a:t>
            </a:r>
            <a:r>
              <a:rPr kumimoji="0" lang="cs-CZ" sz="1100" b="0" i="1" u="sng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 %. Od listopadu se počítá opět s dílčím zvýšením počtu kontaktů.</a:t>
            </a:r>
          </a:p>
        </p:txBody>
      </p:sp>
      <p:sp>
        <p:nvSpPr>
          <p:cNvPr id="46" name="TextovéPole 25">
            <a:extLst>
              <a:ext uri="{FF2B5EF4-FFF2-40B4-BE49-F238E27FC236}">
                <a16:creationId xmlns:a16="http://schemas.microsoft.com/office/drawing/2014/main" id="{0182D921-943F-4F97-9CA7-32021024ABBD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8292368" y="1662332"/>
            <a:ext cx="3899632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Model počítá o</a:t>
            </a:r>
            <a:r>
              <a:rPr kumimoji="0" lang="cs-CZ" sz="110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 1.9. s normálními kontakty a dílčím zvýšením základní reprodukce v důsledku sezónnosti, s větší eskalací v průběhu října. Od 25.10. uvažovaný dopad podzimních prázdnin a dílčího zpřísnění opatření, snížení kontaktů a základní reprodukce o </a:t>
            </a:r>
            <a:r>
              <a:rPr kumimoji="0" lang="cs-CZ" sz="1100" b="0" i="1" u="sng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 %. Od listopadu se počítá opět s významnějším zvýšením počtu kontaktů.</a:t>
            </a:r>
          </a:p>
        </p:txBody>
      </p:sp>
      <p:cxnSp>
        <p:nvCxnSpPr>
          <p:cNvPr id="16" name="Přímá spojnice se šipkou 15">
            <a:extLst>
              <a:ext uri="{FF2B5EF4-FFF2-40B4-BE49-F238E27FC236}">
                <a16:creationId xmlns:a16="http://schemas.microsoft.com/office/drawing/2014/main" id="{761380D0-ED51-4331-AB54-19D8799A2106}"/>
              </a:ext>
            </a:extLst>
          </p:cNvPr>
          <p:cNvCxnSpPr/>
          <p:nvPr/>
        </p:nvCxnSpPr>
        <p:spPr>
          <a:xfrm>
            <a:off x="1161747" y="3169875"/>
            <a:ext cx="5468112" cy="0"/>
          </a:xfrm>
          <a:prstGeom prst="straightConnector1">
            <a:avLst/>
          </a:prstGeom>
          <a:ln w="57150">
            <a:solidFill>
              <a:srgbClr val="D31145"/>
            </a:solidFill>
            <a:prstDash val="dash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1887A1D4-8592-4A38-94A5-A8218BEEC21F}"/>
              </a:ext>
            </a:extLst>
          </p:cNvPr>
          <p:cNvSpPr txBox="1"/>
          <p:nvPr/>
        </p:nvSpPr>
        <p:spPr>
          <a:xfrm>
            <a:off x="1161747" y="2389768"/>
            <a:ext cx="4490099" cy="646331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iziková struktura prevalence nově nakažených s vysokou pravděpodobností navýší zátěž nemocnic. V následujícím období stále trvá riziko &gt; 1000 hospitalizací na JIP v jeden den. </a:t>
            </a:r>
            <a:endParaRPr kumimoji="0" lang="en-US" sz="1200" b="1" i="1" u="sng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1159046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9337041" cy="576000"/>
          </a:xfrm>
        </p:spPr>
        <p:txBody>
          <a:bodyPr/>
          <a:lstStyle/>
          <a:p>
            <a:r>
              <a:rPr lang="cs-CZ" dirty="0">
                <a:latin typeface="+mn-lt"/>
              </a:rPr>
              <a:t>Predikovaný počet </a:t>
            </a:r>
            <a:r>
              <a:rPr lang="cs-CZ" u="sng" dirty="0">
                <a:latin typeface="+mn-lt"/>
              </a:rPr>
              <a:t>zemřelých</a:t>
            </a:r>
            <a:endParaRPr lang="cs-CZ" dirty="0">
              <a:latin typeface="+mn-lt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30D37DF-B158-4FF6-B3AF-9F71D8756D6C}"/>
              </a:ext>
            </a:extLst>
          </p:cNvPr>
          <p:cNvSpPr/>
          <p:nvPr/>
        </p:nvSpPr>
        <p:spPr>
          <a:xfrm rot="16200000">
            <a:off x="-712917" y="3049018"/>
            <a:ext cx="195438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zemřelých </a:t>
            </a:r>
          </a:p>
        </p:txBody>
      </p:sp>
      <p:sp>
        <p:nvSpPr>
          <p:cNvPr id="13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3190" y="6079447"/>
            <a:ext cx="818433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 </a:t>
            </a:r>
          </a:p>
        </p:txBody>
      </p:sp>
      <p:sp>
        <p:nvSpPr>
          <p:cNvPr id="22" name="Rectangle 4">
            <a:extLst>
              <a:ext uri="{FF2B5EF4-FFF2-40B4-BE49-F238E27FC236}">
                <a16:creationId xmlns:a16="http://schemas.microsoft.com/office/drawing/2014/main" id="{9441A87E-A8FC-4007-AC68-6166D83D63A4}"/>
              </a:ext>
            </a:extLst>
          </p:cNvPr>
          <p:cNvSpPr/>
          <p:nvPr/>
        </p:nvSpPr>
        <p:spPr>
          <a:xfrm>
            <a:off x="6196840" y="782308"/>
            <a:ext cx="407900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scénáře modelu SEIRV*:</a:t>
            </a:r>
          </a:p>
        </p:txBody>
      </p:sp>
      <p:sp>
        <p:nvSpPr>
          <p:cNvPr id="29" name="TextovéPole 25">
            <a:extLst>
              <a:ext uri="{FF2B5EF4-FFF2-40B4-BE49-F238E27FC236}">
                <a16:creationId xmlns:a16="http://schemas.microsoft.com/office/drawing/2014/main" id="{C6F0A2C6-FAE4-4BEF-82FF-2F37E8C9572C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8236341" y="5107474"/>
            <a:ext cx="3899632" cy="93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Model počítá o</a:t>
            </a:r>
            <a:r>
              <a:rPr kumimoji="0" lang="cs-CZ" sz="110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 1.9. s normálními kontakty a dílčím zvýšením základní reprodukce v důsledku sezónnosti, s větší eskalací v průběhu října. Od 25.10. uvažovaný dopad podzimních prázdnin a dílčího zpřísnění opatření, snížení kontaktů a základní reprodukce o </a:t>
            </a:r>
            <a:r>
              <a:rPr kumimoji="0" lang="cs-CZ" sz="1100" b="0" i="1" u="sng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 %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  <a:endParaRPr kumimoji="0" lang="cs-CZ" sz="1100" b="0" i="1" u="sng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TextovéPole 29">
            <a:extLst>
              <a:ext uri="{FF2B5EF4-FFF2-40B4-BE49-F238E27FC236}">
                <a16:creationId xmlns:a16="http://schemas.microsoft.com/office/drawing/2014/main" id="{4679F713-FC07-4A4A-A3A7-3BA5897F61DE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8469911" y="2846604"/>
            <a:ext cx="3642482" cy="43088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cénář II: rizikový vývoj s významnými zdravotními dopady, střední další růst</a:t>
            </a:r>
          </a:p>
        </p:txBody>
      </p:sp>
      <p:sp>
        <p:nvSpPr>
          <p:cNvPr id="31" name="TextovéPole 30">
            <a:extLst>
              <a:ext uri="{FF2B5EF4-FFF2-40B4-BE49-F238E27FC236}">
                <a16:creationId xmlns:a16="http://schemas.microsoft.com/office/drawing/2014/main" id="{74A9550E-26E4-48C1-95D9-DE94F2BC8450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469911" y="4564358"/>
            <a:ext cx="3642482" cy="43088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cénář I: rizikový vývoj s významnými zdravotními dopady, nízký další růst</a:t>
            </a:r>
          </a:p>
        </p:txBody>
      </p:sp>
      <p:sp>
        <p:nvSpPr>
          <p:cNvPr id="32" name="TextovéPole 29">
            <a:extLst>
              <a:ext uri="{FF2B5EF4-FFF2-40B4-BE49-F238E27FC236}">
                <a16:creationId xmlns:a16="http://schemas.microsoft.com/office/drawing/2014/main" id="{24B405D0-788A-45E4-BF55-7DACDEEB8089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469911" y="1210292"/>
            <a:ext cx="3642482" cy="43088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cénář III: rizikový vývoj s významnými zdravotními dopady, významný další růst</a:t>
            </a:r>
          </a:p>
        </p:txBody>
      </p:sp>
      <p:cxnSp>
        <p:nvCxnSpPr>
          <p:cNvPr id="33" name="Přímá spojnice 32">
            <a:extLst>
              <a:ext uri="{FF2B5EF4-FFF2-40B4-BE49-F238E27FC236}">
                <a16:creationId xmlns:a16="http://schemas.microsoft.com/office/drawing/2014/main" id="{4CD3E84B-B536-4FDC-8FE0-31D0D9D04A10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>
          <a:xfrm>
            <a:off x="7981523" y="3006415"/>
            <a:ext cx="432000" cy="0"/>
          </a:xfrm>
          <a:prstGeom prst="line">
            <a:avLst/>
          </a:prstGeom>
          <a:ln w="38100">
            <a:solidFill>
              <a:srgbClr val="0070C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Přímá spojnice 33">
            <a:extLst>
              <a:ext uri="{FF2B5EF4-FFF2-40B4-BE49-F238E27FC236}">
                <a16:creationId xmlns:a16="http://schemas.microsoft.com/office/drawing/2014/main" id="{80476F62-4FA8-4C1A-8101-5E7BD0F256CA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>
            <a:off x="7981523" y="4718707"/>
            <a:ext cx="432000" cy="0"/>
          </a:xfrm>
          <a:prstGeom prst="line">
            <a:avLst/>
          </a:prstGeom>
          <a:ln w="38100">
            <a:solidFill>
              <a:srgbClr val="FF99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Přímá spojnice 20">
            <a:extLst>
              <a:ext uri="{FF2B5EF4-FFF2-40B4-BE49-F238E27FC236}">
                <a16:creationId xmlns:a16="http://schemas.microsoft.com/office/drawing/2014/main" id="{C94C988A-B402-4769-BC54-DA984D7CB354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>
          <a:xfrm>
            <a:off x="7981523" y="1362286"/>
            <a:ext cx="432000" cy="0"/>
          </a:xfrm>
          <a:prstGeom prst="line">
            <a:avLst/>
          </a:prstGeom>
          <a:ln w="38100">
            <a:solidFill>
              <a:srgbClr val="FF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ovéPole 25">
            <a:extLst>
              <a:ext uri="{FF2B5EF4-FFF2-40B4-BE49-F238E27FC236}">
                <a16:creationId xmlns:a16="http://schemas.microsoft.com/office/drawing/2014/main" id="{89EBC6BC-0033-44DA-AB0E-94625C5DC38A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8236341" y="3299969"/>
            <a:ext cx="3899632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Model počítá o</a:t>
            </a:r>
            <a:r>
              <a:rPr kumimoji="0" lang="cs-CZ" sz="110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 1.9. s normálními kontakty a dílčím zvýšením základní reprodukce v důsledku sezónnosti, s větší eskalací v průběhu října. Od 25.10. uvažovaný dopad podzimních prázdnin a dílčího zpřísnění opatření, snížení kontaktů a základní reprodukce o </a:t>
            </a:r>
            <a:r>
              <a:rPr kumimoji="0" lang="cs-CZ" sz="1100" b="0" i="1" u="sng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 %. Od listopadu se počítá opět s dílčím zvýšením počtu kontaktů.</a:t>
            </a:r>
          </a:p>
        </p:txBody>
      </p:sp>
      <p:sp>
        <p:nvSpPr>
          <p:cNvPr id="37" name="TextovéPole 25">
            <a:extLst>
              <a:ext uri="{FF2B5EF4-FFF2-40B4-BE49-F238E27FC236}">
                <a16:creationId xmlns:a16="http://schemas.microsoft.com/office/drawing/2014/main" id="{8189B6F5-4B4D-4D7E-B81B-1C6D90802364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8292368" y="1662332"/>
            <a:ext cx="3899632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Model počítá o</a:t>
            </a:r>
            <a:r>
              <a:rPr kumimoji="0" lang="cs-CZ" sz="110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 1.9. s normálními kontakty a dílčím zvýšením základní reprodukce v důsledku sezónnosti, s větší eskalací v průběhu října. Od 25.10. uvažovaný dopad podzimních prázdnin a dílčího zpřísnění opatření, snížení kontaktů a základní reprodukce o </a:t>
            </a:r>
            <a:r>
              <a:rPr kumimoji="0" lang="cs-CZ" sz="1100" b="0" i="1" u="sng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 %. Od listopadu se počítá opět s významnějším zvýšením počtu kontaktů.</a:t>
            </a:r>
          </a:p>
        </p:txBody>
      </p:sp>
      <p:graphicFrame>
        <p:nvGraphicFramePr>
          <p:cNvPr id="38" name="Chart 37">
            <a:extLst>
              <a:ext uri="{FF2B5EF4-FFF2-40B4-BE49-F238E27FC236}">
                <a16:creationId xmlns:a16="http://schemas.microsoft.com/office/drawing/2014/main" id="{FDF5EA4B-36A8-4D56-AEEB-041F35A94A7D}"/>
              </a:ext>
            </a:extLst>
          </p:cNvPr>
          <p:cNvGraphicFramePr/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745161018"/>
              </p:ext>
            </p:extLst>
          </p:nvPr>
        </p:nvGraphicFramePr>
        <p:xfrm>
          <a:off x="488124" y="723656"/>
          <a:ext cx="7581678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</p:spTree>
    <p:extLst>
      <p:ext uri="{BB962C8B-B14F-4D97-AF65-F5344CB8AC3E}">
        <p14:creationId xmlns:p14="http://schemas.microsoft.com/office/powerpoint/2010/main" val="204982675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eská republika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28000" y="6137611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hospitalizovaných pacientů 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20" name="TextBox 14">
            <a:extLst>
              <a:ext uri="{FF2B5EF4-FFF2-40B4-BE49-F238E27FC236}">
                <a16:creationId xmlns:a16="http://schemas.microsoft.com/office/drawing/2014/main" id="{9FE21065-745F-4CF7-BEC5-D790548DCE66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 rot="16200000">
            <a:off x="-1294223" y="3762664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ý a predikovaný počet pacientů</a:t>
            </a:r>
          </a:p>
        </p:txBody>
      </p:sp>
      <p:sp>
        <p:nvSpPr>
          <p:cNvPr id="21" name="TextBox 9">
            <a:extLst>
              <a:ext uri="{FF2B5EF4-FFF2-40B4-BE49-F238E27FC236}">
                <a16:creationId xmlns:a16="http://schemas.microsoft.com/office/drawing/2014/main" id="{A9A8C5BA-26C5-4E88-9F5B-549ACDBA4853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v nemocnicích regionu a rozsah pravděpodobnostních predikcí 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1795D034-72FD-4F2B-9BDA-3E37A4BAAA67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33" name="Skupina 32">
              <a:extLst>
                <a:ext uri="{FF2B5EF4-FFF2-40B4-BE49-F238E27FC236}">
                  <a16:creationId xmlns:a16="http://schemas.microsoft.com/office/drawing/2014/main" id="{C1801E2B-5217-4A40-9887-D4D8D0FE3EFF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41" name="Přímá spojnice 40">
                <a:extLst>
                  <a:ext uri="{FF2B5EF4-FFF2-40B4-BE49-F238E27FC236}">
                    <a16:creationId xmlns:a16="http://schemas.microsoft.com/office/drawing/2014/main" id="{446DFC13-8F3A-43EB-9A7A-C47031E55F2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2" name="Přímá spojnice 41">
                <a:extLst>
                  <a:ext uri="{FF2B5EF4-FFF2-40B4-BE49-F238E27FC236}">
                    <a16:creationId xmlns:a16="http://schemas.microsoft.com/office/drawing/2014/main" id="{31D5C6F4-F0BB-45A0-AFB5-FC7A59EFDB4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43" name="Obdélník 42">
                <a:extLst>
                  <a:ext uri="{FF2B5EF4-FFF2-40B4-BE49-F238E27FC236}">
                    <a16:creationId xmlns:a16="http://schemas.microsoft.com/office/drawing/2014/main" id="{48E88BBB-CEF4-455A-A6CB-89AACCEBEEF8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4" name="TextovéPole 28">
                <a:extLst>
                  <a:ext uri="{FF2B5EF4-FFF2-40B4-BE49-F238E27FC236}">
                    <a16:creationId xmlns:a16="http://schemas.microsoft.com/office/drawing/2014/main" id="{A56BD0F1-34E8-451A-B545-A8CAB7B35E7A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4B908267-772A-4AD8-AD63-D229CC03B90D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  <p:cxnSp>
        <p:nvCxnSpPr>
          <p:cNvPr id="40" name="Přímá spojnice se šipkou 39">
            <a:extLst>
              <a:ext uri="{FF2B5EF4-FFF2-40B4-BE49-F238E27FC236}">
                <a16:creationId xmlns:a16="http://schemas.microsoft.com/office/drawing/2014/main" id="{490D0BCA-DC21-4577-95CC-B9EF0FB6F232}"/>
              </a:ext>
            </a:extLst>
          </p:cNvPr>
          <p:cNvCxnSpPr>
            <a:cxnSpLocks/>
          </p:cNvCxnSpPr>
          <p:nvPr/>
        </p:nvCxnSpPr>
        <p:spPr>
          <a:xfrm flipH="1">
            <a:off x="1030753" y="3448809"/>
            <a:ext cx="8001643" cy="0"/>
          </a:xfrm>
          <a:prstGeom prst="straightConnector1">
            <a:avLst/>
          </a:prstGeom>
          <a:noFill/>
          <a:ln w="28575" cap="flat" cmpd="sng" algn="ctr">
            <a:solidFill>
              <a:srgbClr val="4472C4"/>
            </a:solidFill>
            <a:prstDash val="dash"/>
            <a:miter lim="800000"/>
            <a:tailEnd type="triangle"/>
          </a:ln>
          <a:effectLst/>
        </p:spPr>
      </p:cxnSp>
      <p:cxnSp>
        <p:nvCxnSpPr>
          <p:cNvPr id="45" name="Přímá spojnice 44">
            <a:extLst>
              <a:ext uri="{FF2B5EF4-FFF2-40B4-BE49-F238E27FC236}">
                <a16:creationId xmlns:a16="http://schemas.microsoft.com/office/drawing/2014/main" id="{84A8C2FB-D31C-4C2A-ACAB-62DEB7B1E8B1}"/>
              </a:ext>
            </a:extLst>
          </p:cNvPr>
          <p:cNvCxnSpPr>
            <a:cxnSpLocks/>
          </p:cNvCxnSpPr>
          <p:nvPr/>
        </p:nvCxnSpPr>
        <p:spPr>
          <a:xfrm>
            <a:off x="7804629" y="3095047"/>
            <a:ext cx="0" cy="2711467"/>
          </a:xfrm>
          <a:prstGeom prst="line">
            <a:avLst/>
          </a:prstGeom>
          <a:noFill/>
          <a:ln w="28575" cap="flat" cmpd="sng" algn="ctr">
            <a:solidFill>
              <a:srgbClr val="4472C4"/>
            </a:solidFill>
            <a:prstDash val="dash"/>
            <a:miter lim="800000"/>
          </a:ln>
          <a:effectLst/>
        </p:spPr>
      </p:cxnSp>
      <p:sp>
        <p:nvSpPr>
          <p:cNvPr id="27" name="TextovéPole 26">
            <a:extLst>
              <a:ext uri="{FF2B5EF4-FFF2-40B4-BE49-F238E27FC236}">
                <a16:creationId xmlns:a16="http://schemas.microsoft.com/office/drawing/2014/main" id="{A5B63421-D8E2-4384-887B-108BD349C99C}"/>
              </a:ext>
            </a:extLst>
          </p:cNvPr>
          <p:cNvSpPr txBox="1"/>
          <p:nvPr/>
        </p:nvSpPr>
        <p:spPr>
          <a:xfrm>
            <a:off x="1142354" y="2711407"/>
            <a:ext cx="4490099" cy="646331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iziková struktura prevalence nově nakažených s vysokou pravděpodobností navýší zátěž nemocnic. V následujícím období je nadále nutné očekávat 6 000 – 7 000 hospitalizací v jeden den. </a:t>
            </a:r>
            <a:endParaRPr kumimoji="0" lang="en-US" sz="1200" b="1" i="1" u="sng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4" name="Chart 11">
            <a:extLst>
              <a:ext uri="{FF2B5EF4-FFF2-40B4-BE49-F238E27FC236}">
                <a16:creationId xmlns:a16="http://schemas.microsoft.com/office/drawing/2014/main" id="{F2768C79-9590-4DE2-9435-F35CF095E01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88908235"/>
              </p:ext>
            </p:extLst>
          </p:nvPr>
        </p:nvGraphicFramePr>
        <p:xfrm>
          <a:off x="350985" y="1971457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</p:spTree>
    <p:extLst>
      <p:ext uri="{BB962C8B-B14F-4D97-AF65-F5344CB8AC3E}">
        <p14:creationId xmlns:p14="http://schemas.microsoft.com/office/powerpoint/2010/main" val="94428226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eská republika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vyžadujících intenzivní péči 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28" name="TextBox 9">
            <a:extLst>
              <a:ext uri="{FF2B5EF4-FFF2-40B4-BE49-F238E27FC236}">
                <a16:creationId xmlns:a16="http://schemas.microsoft.com/office/drawing/2014/main" id="{3894B16B-2753-4AFE-9F8D-E78A709894B7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v nemocnicích regionu a rozsah pravděpodobnostních predikcí </a:t>
            </a:r>
          </a:p>
        </p:txBody>
      </p:sp>
      <p:grpSp>
        <p:nvGrpSpPr>
          <p:cNvPr id="29" name="Skupina 28">
            <a:extLst>
              <a:ext uri="{FF2B5EF4-FFF2-40B4-BE49-F238E27FC236}">
                <a16:creationId xmlns:a16="http://schemas.microsoft.com/office/drawing/2014/main" id="{50B0F0EF-F100-4894-B162-A2108E64BACC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30" name="Skupina 29">
              <a:extLst>
                <a:ext uri="{FF2B5EF4-FFF2-40B4-BE49-F238E27FC236}">
                  <a16:creationId xmlns:a16="http://schemas.microsoft.com/office/drawing/2014/main" id="{4CB45048-7782-43BD-92D3-E36EA7C183EC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2" name="Přímá spojnice 31">
                <a:extLst>
                  <a:ext uri="{FF2B5EF4-FFF2-40B4-BE49-F238E27FC236}">
                    <a16:creationId xmlns:a16="http://schemas.microsoft.com/office/drawing/2014/main" id="{AD532655-36DB-41A9-BBD6-4BA46B7F810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0" name="Přímá spojnice 39">
                <a:extLst>
                  <a:ext uri="{FF2B5EF4-FFF2-40B4-BE49-F238E27FC236}">
                    <a16:creationId xmlns:a16="http://schemas.microsoft.com/office/drawing/2014/main" id="{5FB20AAC-D39F-4F15-B5E5-0FFBB07F4B8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41" name="Obdélník 40">
                <a:extLst>
                  <a:ext uri="{FF2B5EF4-FFF2-40B4-BE49-F238E27FC236}">
                    <a16:creationId xmlns:a16="http://schemas.microsoft.com/office/drawing/2014/main" id="{8A0282F5-E2C3-48CC-B0E6-67E2D9C8230E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2" name="TextovéPole 28">
                <a:extLst>
                  <a:ext uri="{FF2B5EF4-FFF2-40B4-BE49-F238E27FC236}">
                    <a16:creationId xmlns:a16="http://schemas.microsoft.com/office/drawing/2014/main" id="{D712442A-10A9-41F3-8911-4BCA9D1B71A1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7F63D18B-C855-44EB-97FD-0A351BF3CDE7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  <p:sp>
        <p:nvSpPr>
          <p:cNvPr id="43" name="TextBox 14">
            <a:extLst>
              <a:ext uri="{FF2B5EF4-FFF2-40B4-BE49-F238E27FC236}">
                <a16:creationId xmlns:a16="http://schemas.microsoft.com/office/drawing/2014/main" id="{DFDFA073-5EC4-4437-86EC-DC6B0197A6EF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 rot="16200000">
            <a:off x="-1260971" y="3659017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ý a predikovaný počet pacientů</a:t>
            </a:r>
          </a:p>
        </p:txBody>
      </p:sp>
      <p:cxnSp>
        <p:nvCxnSpPr>
          <p:cNvPr id="22" name="Přímá spojnice se šipkou 21">
            <a:extLst>
              <a:ext uri="{FF2B5EF4-FFF2-40B4-BE49-F238E27FC236}">
                <a16:creationId xmlns:a16="http://schemas.microsoft.com/office/drawing/2014/main" id="{C6F93941-39B7-4CA0-B572-A4E70E3B9E1C}"/>
              </a:ext>
            </a:extLst>
          </p:cNvPr>
          <p:cNvCxnSpPr>
            <a:cxnSpLocks/>
          </p:cNvCxnSpPr>
          <p:nvPr/>
        </p:nvCxnSpPr>
        <p:spPr>
          <a:xfrm flipH="1">
            <a:off x="1021806" y="3796104"/>
            <a:ext cx="8001643" cy="0"/>
          </a:xfrm>
          <a:prstGeom prst="straightConnector1">
            <a:avLst/>
          </a:prstGeom>
          <a:noFill/>
          <a:ln w="28575" cap="flat" cmpd="sng" algn="ctr">
            <a:solidFill>
              <a:srgbClr val="4472C4"/>
            </a:solidFill>
            <a:prstDash val="dash"/>
            <a:miter lim="800000"/>
            <a:tailEnd type="triangle"/>
          </a:ln>
          <a:effectLst/>
        </p:spPr>
      </p:cxnSp>
      <p:cxnSp>
        <p:nvCxnSpPr>
          <p:cNvPr id="24" name="Přímá spojnice 23">
            <a:extLst>
              <a:ext uri="{FF2B5EF4-FFF2-40B4-BE49-F238E27FC236}">
                <a16:creationId xmlns:a16="http://schemas.microsoft.com/office/drawing/2014/main" id="{F367B87B-0C6C-4E6C-9F88-88D28577260C}"/>
              </a:ext>
            </a:extLst>
          </p:cNvPr>
          <p:cNvCxnSpPr>
            <a:cxnSpLocks/>
          </p:cNvCxnSpPr>
          <p:nvPr/>
        </p:nvCxnSpPr>
        <p:spPr>
          <a:xfrm>
            <a:off x="7712267" y="3419764"/>
            <a:ext cx="0" cy="2359042"/>
          </a:xfrm>
          <a:prstGeom prst="line">
            <a:avLst/>
          </a:prstGeom>
          <a:noFill/>
          <a:ln w="28575" cap="flat" cmpd="sng" algn="ctr">
            <a:solidFill>
              <a:srgbClr val="4472C4"/>
            </a:solidFill>
            <a:prstDash val="dash"/>
            <a:miter lim="800000"/>
          </a:ln>
          <a:effectLst/>
        </p:spPr>
      </p:cxn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FD4C757B-5F71-4495-899F-8E257F29CB9D}"/>
              </a:ext>
            </a:extLst>
          </p:cNvPr>
          <p:cNvSpPr txBox="1"/>
          <p:nvPr/>
        </p:nvSpPr>
        <p:spPr>
          <a:xfrm>
            <a:off x="1170982" y="3011228"/>
            <a:ext cx="4490099" cy="646331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iziková struktura prevalence nově nakažených s vysokou pravděpodobností navýší zátěž nemocnic. V následujícím období stále trvá riziko &gt; 1000 hospitalizací na JIP v jeden den. </a:t>
            </a:r>
            <a:endParaRPr kumimoji="0" lang="en-US" sz="1200" b="1" i="1" u="sng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7" name="Chart 11">
            <a:extLst>
              <a:ext uri="{FF2B5EF4-FFF2-40B4-BE49-F238E27FC236}">
                <a16:creationId xmlns:a16="http://schemas.microsoft.com/office/drawing/2014/main" id="{AE37BF44-9F57-4203-A625-4D24BD37ABC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13073745"/>
              </p:ext>
            </p:extLst>
          </p:nvPr>
        </p:nvGraphicFramePr>
        <p:xfrm>
          <a:off x="321967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</p:spTree>
    <p:extLst>
      <p:ext uri="{BB962C8B-B14F-4D97-AF65-F5344CB8AC3E}">
        <p14:creationId xmlns:p14="http://schemas.microsoft.com/office/powerpoint/2010/main" val="194496842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/>
          <p:cNvSpPr txBox="1"/>
          <p:nvPr>
            <p:custDataLst>
              <p:tags r:id="rId1"/>
            </p:custDataLst>
          </p:nvPr>
        </p:nvSpPr>
        <p:spPr>
          <a:xfrm>
            <a:off x="185737" y="924042"/>
            <a:ext cx="11820525" cy="57246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Ø"/>
              <a:defRPr/>
            </a:pPr>
            <a:r>
              <a:rPr lang="cs-CZ" dirty="0">
                <a:solidFill>
                  <a:prstClr val="black"/>
                </a:solidFill>
              </a:rPr>
              <a:t>Virová nálož v populaci pozvolna klesá (odhad reprodukčního čísla je cca 0,9), v některých regionech stagnuje na stále vysoce rizikových hodnotách. Řada významných indikátorů stavu epidemie stále překračuje hranice vysokého rizika, nicméně u většiny pozorujeme již několik dní trvající postupný pokles. Mírně klesá podíl nových případů s významnými symptomy nemoci (aktuálně pod 50% celkového počtu), stagnuje nebo mírně klesá počet případů diagnostikovaných s vážnými komplikacemi a pozvolna klesá i relativní pozitivita indikovaných testů. Zejména poslední zmíněný parametr je významným ukazatelem prevalence aktivních nákaz a i přes klesající tendenci je stále ve vysokých číslech: u testů z klinické a diagnostické indikace dosahuje relativní pozitivita hodnoty 34% (avšak v nejvíce zatížených regionech jako je</a:t>
            </a:r>
            <a:r>
              <a:rPr lang="cs-CZ" dirty="0"/>
              <a:t> nyní OLK, ZLK přesahuje 40 %</a:t>
            </a:r>
            <a:r>
              <a:rPr lang="cs-CZ" dirty="0">
                <a:solidFill>
                  <a:prstClr val="black"/>
                </a:solidFill>
              </a:rPr>
              <a:t>). </a:t>
            </a:r>
          </a:p>
          <a:p>
            <a:pPr marL="342900" lvl="0" indent="-342900">
              <a:buFont typeface="Wingdings" panose="05000000000000000000" pitchFamily="2" charset="2"/>
              <a:buChar char="Ø"/>
              <a:defRPr/>
            </a:pPr>
            <a:r>
              <a:rPr lang="cs-CZ" dirty="0">
                <a:solidFill>
                  <a:prstClr val="black"/>
                </a:solidFill>
              </a:rPr>
              <a:t>Závažným a stále trvajícím rizikovým ukazatelem je vysoký počet denně nově nakažených potenciálně zranitelných osob (denní průměr je stále cca 1 600 nově potvrzených diagnóz v této rizikové subpopulaci); v populaci seniorů ve věku 65+ nadále registrujeme i vysokou relativní pozitivitu testů blízkou 30% (týdenní počet nově potvrzených případů v této věkové třídě dosahuje 484/100tis. osob). V důsledku toho stále narůstá počet hospitalizovaných v těžkém stavu (celkově bylo k 8.12. v ČR takto hospitalizováno na JIP 981 pacientů s COVID-19, z toho více než 540 na vysoce intenzivní léčbě s UPV nebo ECMO). V pracovních dnech po 29.11. bylo do nemocnic denně přijímáno průměrně více než 720 pacientů s COVID-19, z toho více než 110 na JIP. </a:t>
            </a:r>
          </a:p>
          <a:p>
            <a:pPr marL="342900" lvl="0" indent="-342900">
              <a:buFont typeface="Wingdings" panose="05000000000000000000" pitchFamily="2" charset="2"/>
              <a:buChar char="Ø"/>
              <a:defRPr/>
            </a:pPr>
            <a:r>
              <a:rPr lang="cs-CZ" dirty="0">
                <a:solidFill>
                  <a:prstClr val="black"/>
                </a:solidFill>
              </a:rPr>
              <a:t>Zátěž nemocnic tak s vysokou pravděpodobností bude ještě minimálně dalších 7 – 10 dní narůstat, případně stagnovat na vysokých počtech vážně nemocných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ýše uvedená fakta potvrzují stagnaci až pokles virové zátěže, avšak s očekávatelným pomalým poklesem v čase. Pomalý pokles následně znamená prolongování vysoké zátěže nemocnic v nejvíce zatížených regionech. </a:t>
            </a:r>
          </a:p>
        </p:txBody>
      </p:sp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183653" y="91663"/>
            <a:ext cx="11618346" cy="628648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RUČNÝ SOUHRN </a:t>
            </a: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&amp; </a:t>
            </a: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LAVNÍ RIZIKOVÉ FAKTORY</a:t>
            </a:r>
          </a:p>
        </p:txBody>
      </p:sp>
    </p:spTree>
    <p:extLst>
      <p:ext uri="{BB962C8B-B14F-4D97-AF65-F5344CB8AC3E}">
        <p14:creationId xmlns:p14="http://schemas.microsoft.com/office/powerpoint/2010/main" val="55987711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05115" y="38814"/>
            <a:ext cx="11614422" cy="13234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lavní důvody, proč predikce stále kalkulují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 značnou mírou rizika a s možností eskalace nákazy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2C98192F-424C-4647-82A6-411F6943FFF9}"/>
              </a:ext>
            </a:extLst>
          </p:cNvPr>
          <p:cNvSpPr txBox="1"/>
          <p:nvPr/>
        </p:nvSpPr>
        <p:spPr>
          <a:xfrm>
            <a:off x="397832" y="6029260"/>
            <a:ext cx="11421705" cy="707886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v proočkovanosti a ochrany seniorních populačních skupin se v čase postupně zlepšuje, nicméně kohorta nechráněná očkováním ani proděláním infekce je stále velmi velká. </a:t>
            </a:r>
          </a:p>
        </p:txBody>
      </p:sp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ADECBA86-9838-4FD9-8720-AF827356F3A6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4227801"/>
              </p:ext>
            </p:extLst>
          </p:nvPr>
        </p:nvGraphicFramePr>
        <p:xfrm>
          <a:off x="1051027" y="1548833"/>
          <a:ext cx="3798951" cy="56769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798951">
                  <a:extLst>
                    <a:ext uri="{9D8B030D-6E8A-4147-A177-3AD203B41FA5}">
                      <a16:colId xmlns:a16="http://schemas.microsoft.com/office/drawing/2014/main" val="3588119763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s-ES" sz="1800" b="1" u="none" strike="noStrike" dirty="0">
                          <a:effectLst/>
                        </a:rPr>
                        <a:t>Osoby ve věku 60</a:t>
                      </a:r>
                      <a:r>
                        <a:rPr lang="cs-CZ" sz="1800" b="1" u="none" strike="noStrike" dirty="0">
                          <a:effectLst/>
                        </a:rPr>
                        <a:t> </a:t>
                      </a:r>
                      <a:r>
                        <a:rPr lang="es-ES" sz="1800" b="1" u="none" strike="noStrike" dirty="0">
                          <a:effectLst/>
                        </a:rPr>
                        <a:t>a více let</a:t>
                      </a:r>
                      <a:endParaRPr lang="es-ES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305612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800" b="1" u="none" strike="noStrike" dirty="0">
                          <a:effectLst/>
                        </a:rPr>
                        <a:t>Stav k 5. 12. 2021</a:t>
                      </a:r>
                      <a:endParaRPr lang="cs-CZ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5354566"/>
                  </a:ext>
                </a:extLst>
              </a:tr>
            </a:tbl>
          </a:graphicData>
        </a:graphic>
      </p:graphicFrame>
      <p:sp>
        <p:nvSpPr>
          <p:cNvPr id="6" name="Šipka dolů 5"/>
          <p:cNvSpPr/>
          <p:nvPr>
            <p:custDataLst>
              <p:tags r:id="rId3"/>
            </p:custDataLst>
          </p:nvPr>
        </p:nvSpPr>
        <p:spPr>
          <a:xfrm>
            <a:off x="4374103" y="1400220"/>
            <a:ext cx="1695252" cy="508714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11" name="Tabulka 10">
            <a:extLst>
              <a:ext uri="{FF2B5EF4-FFF2-40B4-BE49-F238E27FC236}">
                <a16:creationId xmlns:a16="http://schemas.microsoft.com/office/drawing/2014/main" id="{C2E7B3A1-4209-41C3-8D25-96C98026F4E3}"/>
              </a:ext>
            </a:extLst>
          </p:cNvPr>
          <p:cNvGraphicFramePr>
            <a:graphicFrameLocks noGrp="1"/>
          </p:cNvGraphicFramePr>
          <p:nvPr/>
        </p:nvGraphicFramePr>
        <p:xfrm>
          <a:off x="628649" y="2154614"/>
          <a:ext cx="7915269" cy="3790171"/>
        </p:xfrm>
        <a:graphic>
          <a:graphicData uri="http://schemas.openxmlformats.org/drawingml/2006/table">
            <a:tbl>
              <a:tblPr/>
              <a:tblGrid>
                <a:gridCol w="1817281">
                  <a:extLst>
                    <a:ext uri="{9D8B030D-6E8A-4147-A177-3AD203B41FA5}">
                      <a16:colId xmlns:a16="http://schemas.microsoft.com/office/drawing/2014/main" val="4039846943"/>
                    </a:ext>
                  </a:extLst>
                </a:gridCol>
                <a:gridCol w="1524497">
                  <a:extLst>
                    <a:ext uri="{9D8B030D-6E8A-4147-A177-3AD203B41FA5}">
                      <a16:colId xmlns:a16="http://schemas.microsoft.com/office/drawing/2014/main" val="2515080739"/>
                    </a:ext>
                  </a:extLst>
                </a:gridCol>
                <a:gridCol w="1524497">
                  <a:extLst>
                    <a:ext uri="{9D8B030D-6E8A-4147-A177-3AD203B41FA5}">
                      <a16:colId xmlns:a16="http://schemas.microsoft.com/office/drawing/2014/main" val="359600339"/>
                    </a:ext>
                  </a:extLst>
                </a:gridCol>
                <a:gridCol w="1524497">
                  <a:extLst>
                    <a:ext uri="{9D8B030D-6E8A-4147-A177-3AD203B41FA5}">
                      <a16:colId xmlns:a16="http://schemas.microsoft.com/office/drawing/2014/main" val="2431012346"/>
                    </a:ext>
                  </a:extLst>
                </a:gridCol>
                <a:gridCol w="1524497">
                  <a:extLst>
                    <a:ext uri="{9D8B030D-6E8A-4147-A177-3AD203B41FA5}">
                      <a16:colId xmlns:a16="http://schemas.microsoft.com/office/drawing/2014/main" val="1321829261"/>
                    </a:ext>
                  </a:extLst>
                </a:gridCol>
              </a:tblGrid>
              <a:tr h="39750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pulace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čkovaní alespoň jednou dávkou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očkovaní, prodělali onemocnění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Ostatní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02673919"/>
                  </a:ext>
                </a:extLst>
              </a:tr>
              <a:tr h="22617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9 3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6 117 (86,5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211 (2,6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35 063 (11,0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88559858"/>
                  </a:ext>
                </a:extLst>
              </a:tr>
              <a:tr h="22617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5 7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3 116 (87,3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818 (2,6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33 831 (10,1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33698313"/>
                  </a:ext>
                </a:extLst>
              </a:tr>
              <a:tr h="22617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4 6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0 585 (86,2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862 (2,8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19 155 (11,0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82352291"/>
                  </a:ext>
                </a:extLst>
              </a:tr>
              <a:tr h="22617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6 8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2 894 (84,7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657 (3,0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19 264 (12,3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15252583"/>
                  </a:ext>
                </a:extLst>
              </a:tr>
              <a:tr h="22617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 3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 803 (81,7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294 (2,9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12 249 (15,4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44073453"/>
                  </a:ext>
                </a:extLst>
              </a:tr>
              <a:tr h="22617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0 5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6 927 (84,0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903 (2,8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27 701 (13,2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50445421"/>
                  </a:ext>
                </a:extLst>
              </a:tr>
              <a:tr h="22617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 6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 892 (83,8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619 (3,1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15 139 (13,1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3034458"/>
                  </a:ext>
                </a:extLst>
              </a:tr>
              <a:tr h="22617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4 1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 762 (85,5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456 (2,9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17 917 (11,6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63558173"/>
                  </a:ext>
                </a:extLst>
              </a:tr>
              <a:tr h="22617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8 68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 211 (85,2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534 (3,3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15 943 (11,5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03771964"/>
                  </a:ext>
                </a:extLst>
              </a:tr>
              <a:tr h="22617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8 0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 103 (87,8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717 (2,7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13 185 (9,6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65815422"/>
                  </a:ext>
                </a:extLst>
              </a:tr>
              <a:tr h="22617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2 0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1 194 (83,7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440 (3,0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41 369 (13,3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79998371"/>
                  </a:ext>
                </a:extLst>
              </a:tr>
              <a:tr h="22617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1 7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1 090 (82,2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333 (3,7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24 298 (14,1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79358045"/>
                  </a:ext>
                </a:extLst>
              </a:tr>
              <a:tr h="22617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9 40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2 431 (83,1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737 (3,6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21 241 (13,3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08985847"/>
                  </a:ext>
                </a:extLst>
              </a:tr>
              <a:tr h="22617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7 7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7 154 (80,9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113 (3,8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48 459 (15,3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92292547"/>
                  </a:ext>
                </a:extLst>
              </a:tr>
              <a:tr h="22617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783 78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363 121 (84,9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 402 (3,1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335 264 (12,0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58602142"/>
                  </a:ext>
                </a:extLst>
              </a:tr>
            </a:tbl>
          </a:graphicData>
        </a:graphic>
      </p:graphicFrame>
      <p:sp>
        <p:nvSpPr>
          <p:cNvPr id="9" name="TextovéPole 8">
            <a:extLst>
              <a:ext uri="{FF2B5EF4-FFF2-40B4-BE49-F238E27FC236}">
                <a16:creationId xmlns:a16="http://schemas.microsoft.com/office/drawing/2014/main" id="{13CDAE1B-3ADD-496E-8354-C4ECB75893E4}"/>
              </a:ext>
            </a:extLst>
          </p:cNvPr>
          <p:cNvSpPr txBox="1"/>
          <p:nvPr/>
        </p:nvSpPr>
        <p:spPr>
          <a:xfrm>
            <a:off x="8684643" y="2480038"/>
            <a:ext cx="3318060" cy="31393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pulační zátěž ve věkové kategorii 65+ je stále vysoká</a:t>
            </a:r>
            <a:r>
              <a:rPr lang="cs-CZ" b="1" dirty="0">
                <a:solidFill>
                  <a:srgbClr val="C00000"/>
                </a:solidFill>
                <a:latin typeface="Calibri" panose="020F0502020204030204" pitchFamily="34" charset="0"/>
              </a:rPr>
              <a:t> 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(7denní počet nových případů v kategorii věku 65+ je vyšší než 480/100tis. osob, relativní pozitivita indikovaných testů u seniorů je cca 30%). Na datech se projevuje narůstající riziko částečného vyčerpání ochranného efektu vakcinace proti nákaze.   </a:t>
            </a: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6998975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7436164" cy="576000"/>
          </a:xfrm>
        </p:spPr>
        <p:txBody>
          <a:bodyPr/>
          <a:lstStyle/>
          <a:p>
            <a:r>
              <a:rPr lang="cs-CZ" dirty="0"/>
              <a:t>Zátěž regionů ve vzájemném srovnání </a:t>
            </a:r>
            <a:r>
              <a:rPr lang="pl-PL" dirty="0"/>
              <a:t>krajů k 8</a:t>
            </a:r>
            <a:r>
              <a:rPr lang="cs-CZ" dirty="0"/>
              <a:t>. 12.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0A29EB09-17C8-452F-8EAF-45B003F09D4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7939895" y="1551187"/>
            <a:ext cx="4056610" cy="38164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2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ejvyšší zátěž je za posledních 7 dní registrována v moravských krajích a nově také v kraji Pardubickém a v Kraji Vysočina. Všechny tyto regiony se pohybují nad hranicí týdenních záchytů nákazy 1000/100 tis. obyvatel. </a:t>
            </a:r>
          </a:p>
        </p:txBody>
      </p:sp>
      <p:sp>
        <p:nvSpPr>
          <p:cNvPr id="5" name="TextovéPole 4">
            <a:extLst>
              <a:ext uri="{FF2B5EF4-FFF2-40B4-BE49-F238E27FC236}">
                <a16:creationId xmlns:a16="http://schemas.microsoft.com/office/drawing/2014/main" id="{0A29EB09-17C8-452F-8EAF-45B003F09D46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7836342" y="6051105"/>
            <a:ext cx="4263716" cy="646331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odnota za ČR je vyšší než 1020 případů / 100 tis. obyv. za 7 dní</a:t>
            </a:r>
          </a:p>
        </p:txBody>
      </p:sp>
      <p:graphicFrame>
        <p:nvGraphicFramePr>
          <p:cNvPr id="8" name="Tabulka 1">
            <a:extLst>
              <a:ext uri="{FF2B5EF4-FFF2-40B4-BE49-F238E27FC236}">
                <a16:creationId xmlns:a16="http://schemas.microsoft.com/office/drawing/2014/main" id="{184B6E13-9BFA-4406-B540-3D256C87067E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945951682"/>
              </p:ext>
            </p:extLst>
          </p:nvPr>
        </p:nvGraphicFramePr>
        <p:xfrm>
          <a:off x="285784" y="631607"/>
          <a:ext cx="7343452" cy="594300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291161">
                  <a:extLst>
                    <a:ext uri="{9D8B030D-6E8A-4147-A177-3AD203B41FA5}">
                      <a16:colId xmlns:a16="http://schemas.microsoft.com/office/drawing/2014/main" val="1104746273"/>
                    </a:ext>
                  </a:extLst>
                </a:gridCol>
                <a:gridCol w="1671782">
                  <a:extLst>
                    <a:ext uri="{9D8B030D-6E8A-4147-A177-3AD203B41FA5}">
                      <a16:colId xmlns:a16="http://schemas.microsoft.com/office/drawing/2014/main" val="2879916102"/>
                    </a:ext>
                  </a:extLst>
                </a:gridCol>
                <a:gridCol w="1440873">
                  <a:extLst>
                    <a:ext uri="{9D8B030D-6E8A-4147-A177-3AD203B41FA5}">
                      <a16:colId xmlns:a16="http://schemas.microsoft.com/office/drawing/2014/main" val="2227094756"/>
                    </a:ext>
                  </a:extLst>
                </a:gridCol>
                <a:gridCol w="1939636">
                  <a:extLst>
                    <a:ext uri="{9D8B030D-6E8A-4147-A177-3AD203B41FA5}">
                      <a16:colId xmlns:a16="http://schemas.microsoft.com/office/drawing/2014/main" val="153257616"/>
                    </a:ext>
                  </a:extLst>
                </a:gridCol>
              </a:tblGrid>
              <a:tr h="1272293">
                <a:tc>
                  <a:txBody>
                    <a:bodyPr/>
                    <a:lstStyle/>
                    <a:p>
                      <a:r>
                        <a:rPr lang="en-US" sz="1600" b="1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ázev</a:t>
                      </a: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1600" b="1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kraje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7denní</a:t>
                      </a: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počet nových případů na 100 tis. obyv.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4denní</a:t>
                      </a: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počet nových případů na 100 tis. obyv.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7denní</a:t>
                      </a: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relativní pozitivita indikovaných (Dg/Epi) testů v % *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07620250"/>
                  </a:ext>
                </a:extLst>
              </a:tr>
              <a:tr h="311381">
                <a:tc>
                  <a:txBody>
                    <a:bodyPr/>
                    <a:lstStyle/>
                    <a:p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Zlínský kraj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304.0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869.8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0.0 % / 17.2 %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48267304"/>
                  </a:ext>
                </a:extLst>
              </a:tr>
              <a:tr h="311381">
                <a:tc>
                  <a:txBody>
                    <a:bodyPr/>
                    <a:lstStyle/>
                    <a:p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lomoucký kraj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223.1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842.9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1.0 % / 18.3 %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0709433"/>
                  </a:ext>
                </a:extLst>
              </a:tr>
              <a:tr h="311381">
                <a:tc>
                  <a:txBody>
                    <a:bodyPr/>
                    <a:lstStyle/>
                    <a:p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Kraj Vysočina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196.0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414.7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7.0 % / 17.2 %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84998111"/>
                  </a:ext>
                </a:extLst>
              </a:tr>
              <a:tr h="311381">
                <a:tc>
                  <a:txBody>
                    <a:bodyPr/>
                    <a:lstStyle/>
                    <a:p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Jihomoravský kraj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166.0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572.2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3.0 % / 16.9 %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1871709"/>
                  </a:ext>
                </a:extLst>
              </a:tr>
              <a:tr h="311381">
                <a:tc>
                  <a:txBody>
                    <a:bodyPr/>
                    <a:lstStyle/>
                    <a:p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ardubický kraj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160.9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483.5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5.0 % / 15.8 %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0686177"/>
                  </a:ext>
                </a:extLst>
              </a:tr>
              <a:tr h="311381">
                <a:tc>
                  <a:txBody>
                    <a:bodyPr/>
                    <a:lstStyle/>
                    <a:p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oravskoslezský kraj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141.0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517.4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9.2 % / 15.0 %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00960626"/>
                  </a:ext>
                </a:extLst>
              </a:tr>
              <a:tr h="311381">
                <a:tc>
                  <a:txBody>
                    <a:bodyPr/>
                    <a:lstStyle/>
                    <a:p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Jihočeský kraj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068.8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336.3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7.4 % / 17.1 %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08115121"/>
                  </a:ext>
                </a:extLst>
              </a:tr>
              <a:tr h="311381">
                <a:tc>
                  <a:txBody>
                    <a:bodyPr/>
                    <a:lstStyle/>
                    <a:p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tředočeský kraj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62.0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42.9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1.8 % / 12.4 %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86406672"/>
                  </a:ext>
                </a:extLst>
              </a:tr>
              <a:tr h="311381">
                <a:tc>
                  <a:txBody>
                    <a:bodyPr/>
                    <a:lstStyle/>
                    <a:p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Liberecký kraj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46.0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915.8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3.8 % / 16.0 %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6103521"/>
                  </a:ext>
                </a:extLst>
              </a:tr>
              <a:tr h="311381">
                <a:tc>
                  <a:txBody>
                    <a:bodyPr/>
                    <a:lstStyle/>
                    <a:p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Královéhradecký kraj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43.2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942.6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1.4 % / 13.6 %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0984813"/>
                  </a:ext>
                </a:extLst>
              </a:tr>
              <a:tr h="311381">
                <a:tc>
                  <a:txBody>
                    <a:bodyPr/>
                    <a:lstStyle/>
                    <a:p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Ústecký kraj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15.9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852.5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2.9 % / 14.3 %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09304550"/>
                  </a:ext>
                </a:extLst>
              </a:tr>
              <a:tr h="311381">
                <a:tc>
                  <a:txBody>
                    <a:bodyPr/>
                    <a:lstStyle/>
                    <a:p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Hlavní město Praha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862.5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932.4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6.3 % / 9.4 %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4071685"/>
                  </a:ext>
                </a:extLst>
              </a:tr>
              <a:tr h="311381">
                <a:tc>
                  <a:txBody>
                    <a:bodyPr/>
                    <a:lstStyle/>
                    <a:p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lzeňský kraj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787.3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750.1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6.0 % / 13.3 %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02644618"/>
                  </a:ext>
                </a:extLst>
              </a:tr>
              <a:tr h="311381">
                <a:tc>
                  <a:txBody>
                    <a:bodyPr/>
                    <a:lstStyle/>
                    <a:p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Karlovarský kraj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60.6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26.7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4.5 % / 10.7 %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6907440"/>
                  </a:ext>
                </a:extLst>
              </a:tr>
              <a:tr h="311381">
                <a:tc>
                  <a:txBody>
                    <a:bodyPr/>
                    <a:lstStyle/>
                    <a:p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ČR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025.4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219.1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4.0 % / 14.2 %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0888004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1340290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/>
          <p:cNvSpPr/>
          <p:nvPr/>
        </p:nvSpPr>
        <p:spPr>
          <a:xfrm>
            <a:off x="152773" y="0"/>
            <a:ext cx="1188645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líčové ukazatele a rizikové faktory po posouzení vývoje epidemie</a:t>
            </a:r>
            <a:endParaRPr kumimoji="0" lang="cs-CZ" sz="3000" b="0" i="1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2" name="Tabulka 21">
            <a:extLst>
              <a:ext uri="{FF2B5EF4-FFF2-40B4-BE49-F238E27FC236}">
                <a16:creationId xmlns:a16="http://schemas.microsoft.com/office/drawing/2014/main" id="{0F532DB9-8A49-4532-8F7E-A99DB5C40FA9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107354" y="1313136"/>
          <a:ext cx="3771899" cy="3850725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445346">
                  <a:extLst>
                    <a:ext uri="{9D8B030D-6E8A-4147-A177-3AD203B41FA5}">
                      <a16:colId xmlns:a16="http://schemas.microsoft.com/office/drawing/2014/main" val="1039761853"/>
                    </a:ext>
                  </a:extLst>
                </a:gridCol>
                <a:gridCol w="685800">
                  <a:extLst>
                    <a:ext uri="{9D8B030D-6E8A-4147-A177-3AD203B41FA5}">
                      <a16:colId xmlns:a16="http://schemas.microsoft.com/office/drawing/2014/main" val="3581028306"/>
                    </a:ext>
                  </a:extLst>
                </a:gridCol>
                <a:gridCol w="640753">
                  <a:extLst>
                    <a:ext uri="{9D8B030D-6E8A-4147-A177-3AD203B41FA5}">
                      <a16:colId xmlns:a16="http://schemas.microsoft.com/office/drawing/2014/main" val="2172191408"/>
                    </a:ext>
                  </a:extLst>
                </a:gridCol>
              </a:tblGrid>
              <a:tr h="411117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200" dirty="0">
                          <a:solidFill>
                            <a:schemeClr val="tx1"/>
                          </a:solidFill>
                          <a:effectLst/>
                        </a:rPr>
                        <a:t>LOGISTIKA</a:t>
                      </a: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</a:rPr>
                        <a:t> &amp; MANAGEMENT</a:t>
                      </a:r>
                      <a:endParaRPr lang="cs-CZ" sz="1200" dirty="0">
                        <a:solidFill>
                          <a:schemeClr val="tx1"/>
                        </a:solidFill>
                        <a:effectLst/>
                      </a:endParaRPr>
                    </a:p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</a:rPr>
                        <a:t>EPIDEMIE</a:t>
                      </a:r>
                      <a:endParaRPr lang="cs-CZ" sz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 err="1">
                          <a:solidFill>
                            <a:schemeClr val="tx1"/>
                          </a:solidFill>
                          <a:effectLst/>
                        </a:rPr>
                        <a:t>Hodnota</a:t>
                      </a:r>
                      <a:endParaRPr lang="cs-CZ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rend</a:t>
                      </a:r>
                      <a:endParaRPr lang="cs-CZ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(Riziko)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1481214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iskriminační PCR (% z pozitivních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,4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37227092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rasované případy (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,7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7462542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rasování: vyřešené případy z pozitivních do 24h (%; za 7 dní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,7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7521848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rasování:7denní průměrný počet hlášených kontakt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8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 dirty="0">
                          <a:solidFill>
                            <a:srgbClr val="305496"/>
                          </a:solidFill>
                          <a:effectLst/>
                          <a:latin typeface="Arial" panose="020B0604020202020204" pitchFamily="34" charset="0"/>
                        </a:rPr>
                        <a:t>●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7752783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Ukončené základní očkování: </a:t>
                      </a: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populace 16+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,0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97924369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Ukončené základní očkování:</a:t>
                      </a: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populace 65+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4,7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!!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7050462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Ukončené základní očkování: </a:t>
                      </a:r>
                    </a:p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celá populace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,7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.s.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13629135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Posilující dávka (% osob, které mají náro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3,64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.s.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PCR testů / 100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76,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.s.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7822544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klinicky a diagnosticky indikovaných PCR test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79,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.s</a:t>
                      </a:r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.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8440519"/>
                  </a:ext>
                </a:extLst>
              </a:tr>
            </a:tbl>
          </a:graphicData>
        </a:graphic>
      </p:graphicFrame>
      <p:graphicFrame>
        <p:nvGraphicFramePr>
          <p:cNvPr id="23" name="Tabulka 22">
            <a:extLst>
              <a:ext uri="{FF2B5EF4-FFF2-40B4-BE49-F238E27FC236}">
                <a16:creationId xmlns:a16="http://schemas.microsoft.com/office/drawing/2014/main" id="{1F94E2A2-209A-4845-812E-17757BC91BEA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88043359"/>
              </p:ext>
            </p:extLst>
          </p:nvPr>
        </p:nvGraphicFramePr>
        <p:xfrm>
          <a:off x="4027940" y="1313135"/>
          <a:ext cx="3886199" cy="3021008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638425">
                  <a:extLst>
                    <a:ext uri="{9D8B030D-6E8A-4147-A177-3AD203B41FA5}">
                      <a16:colId xmlns:a16="http://schemas.microsoft.com/office/drawing/2014/main" val="1039761853"/>
                    </a:ext>
                  </a:extLst>
                </a:gridCol>
                <a:gridCol w="657225">
                  <a:extLst>
                    <a:ext uri="{9D8B030D-6E8A-4147-A177-3AD203B41FA5}">
                      <a16:colId xmlns:a16="http://schemas.microsoft.com/office/drawing/2014/main" val="3581028306"/>
                    </a:ext>
                  </a:extLst>
                </a:gridCol>
                <a:gridCol w="590549">
                  <a:extLst>
                    <a:ext uri="{9D8B030D-6E8A-4147-A177-3AD203B41FA5}">
                      <a16:colId xmlns:a16="http://schemas.microsoft.com/office/drawing/2014/main" val="2172191408"/>
                    </a:ext>
                  </a:extLst>
                </a:gridCol>
              </a:tblGrid>
              <a:tr h="470982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</a:rPr>
                        <a:t>POPULA</a:t>
                      </a:r>
                      <a:r>
                        <a:rPr lang="cs-CZ" sz="1200" dirty="0">
                          <a:solidFill>
                            <a:schemeClr val="tx1"/>
                          </a:solidFill>
                          <a:effectLst/>
                        </a:rPr>
                        <a:t>ČNÍ UKAZATELE</a:t>
                      </a:r>
                      <a:endParaRPr lang="cs-CZ" sz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 err="1">
                          <a:solidFill>
                            <a:schemeClr val="tx1"/>
                          </a:solidFill>
                          <a:effectLst/>
                        </a:rPr>
                        <a:t>Hodnota</a:t>
                      </a:r>
                      <a:endParaRPr lang="cs-CZ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rend</a:t>
                      </a:r>
                      <a:endParaRPr lang="cs-CZ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(Riziko)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1481214"/>
                  </a:ext>
                </a:extLst>
              </a:tr>
              <a:tr h="43422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případů/ 100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25,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9944530"/>
                  </a:ext>
                </a:extLst>
              </a:tr>
              <a:tr h="43422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symptomatických případů / 100 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6,8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5090560"/>
                  </a:ext>
                </a:extLst>
              </a:tr>
              <a:tr h="39179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hodnota R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9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1" i="0" u="none" strike="noStrike" dirty="0">
                          <a:solidFill>
                            <a:srgbClr val="305496"/>
                          </a:solidFill>
                          <a:effectLst/>
                          <a:latin typeface="Arial" panose="020B0604020202020204" pitchFamily="34" charset="0"/>
                        </a:rPr>
                        <a:t>●</a:t>
                      </a:r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37227092"/>
                  </a:ext>
                </a:extLst>
              </a:tr>
              <a:tr h="42993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relativní pozitivita (Dg+Epi) indikovaných test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,4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7462542"/>
                  </a:ext>
                </a:extLst>
              </a:tr>
              <a:tr h="42993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případů 65+/ 100tis. obyv. 65+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4,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7521848"/>
                  </a:ext>
                </a:extLst>
              </a:tr>
              <a:tr h="42993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lativní pozitivita indikovaných (Dg+Epi) testů 65+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,6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7752783"/>
                  </a:ext>
                </a:extLst>
              </a:tr>
            </a:tbl>
          </a:graphicData>
        </a:graphic>
      </p:graphicFrame>
      <p:graphicFrame>
        <p:nvGraphicFramePr>
          <p:cNvPr id="24" name="Tabulka 23">
            <a:extLst>
              <a:ext uri="{FF2B5EF4-FFF2-40B4-BE49-F238E27FC236}">
                <a16:creationId xmlns:a16="http://schemas.microsoft.com/office/drawing/2014/main" id="{7A86019B-54FD-4C3D-9845-0E85E2D3D6B7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8083409" y="1313136"/>
          <a:ext cx="3886199" cy="3021009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611360">
                  <a:extLst>
                    <a:ext uri="{9D8B030D-6E8A-4147-A177-3AD203B41FA5}">
                      <a16:colId xmlns:a16="http://schemas.microsoft.com/office/drawing/2014/main" val="1039761853"/>
                    </a:ext>
                  </a:extLst>
                </a:gridCol>
                <a:gridCol w="646190">
                  <a:extLst>
                    <a:ext uri="{9D8B030D-6E8A-4147-A177-3AD203B41FA5}">
                      <a16:colId xmlns:a16="http://schemas.microsoft.com/office/drawing/2014/main" val="3581028306"/>
                    </a:ext>
                  </a:extLst>
                </a:gridCol>
                <a:gridCol w="628649">
                  <a:extLst>
                    <a:ext uri="{9D8B030D-6E8A-4147-A177-3AD203B41FA5}">
                      <a16:colId xmlns:a16="http://schemas.microsoft.com/office/drawing/2014/main" val="2172191408"/>
                    </a:ext>
                  </a:extLst>
                </a:gridCol>
              </a:tblGrid>
              <a:tr h="449932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200" dirty="0">
                          <a:solidFill>
                            <a:schemeClr val="tx1"/>
                          </a:solidFill>
                          <a:effectLst/>
                        </a:rPr>
                        <a:t>ZDRAVOTNÍ DOPAD COVID-19</a:t>
                      </a:r>
                      <a:endParaRPr lang="cs-CZ" sz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 err="1">
                          <a:solidFill>
                            <a:schemeClr val="tx1"/>
                          </a:solidFill>
                          <a:effectLst/>
                        </a:rPr>
                        <a:t>Hodnota</a:t>
                      </a:r>
                      <a:endParaRPr lang="cs-CZ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rend</a:t>
                      </a:r>
                      <a:endParaRPr lang="cs-CZ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(Riziko)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1481214"/>
                  </a:ext>
                </a:extLst>
              </a:tr>
              <a:tr h="367570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nových příjmů do nemocnic / 100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,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9944530"/>
                  </a:ext>
                </a:extLst>
              </a:tr>
              <a:tr h="422077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nových příjmů na JIP (včetně překladů) / 100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81261566"/>
                  </a:ext>
                </a:extLst>
              </a:tr>
              <a:tr h="331652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ostupná funkční kapacita JIP (% celkové kapacity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,7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!!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32222971"/>
                  </a:ext>
                </a:extLst>
              </a:tr>
              <a:tr h="331652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spitalizovaní celkem k danému dni / 100 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1,8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37227092"/>
                  </a:ext>
                </a:extLst>
              </a:tr>
              <a:tr h="363940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spitalizovaní na JIP k danému dni / 100 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,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7462542"/>
                  </a:ext>
                </a:extLst>
              </a:tr>
              <a:tr h="363940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čet pacientů na UPV/ECMO k danému dni / 100 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8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7521848"/>
                  </a:ext>
                </a:extLst>
              </a:tr>
              <a:tr h="363940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bložnost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JIP pacienty s COVID-19 v % aktuální celkové 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</a:t>
                      </a:r>
                      <a:r>
                        <a:rPr lang="cs-CZ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pacity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,7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442261"/>
                  </a:ext>
                </a:extLst>
              </a:tr>
            </a:tbl>
          </a:graphicData>
        </a:graphic>
      </p:graphicFrame>
      <p:sp>
        <p:nvSpPr>
          <p:cNvPr id="26" name="TextovéPole 25">
            <a:extLst>
              <a:ext uri="{FF2B5EF4-FFF2-40B4-BE49-F238E27FC236}">
                <a16:creationId xmlns:a16="http://schemas.microsoft.com/office/drawing/2014/main" id="{915B2B79-3BEF-44FC-A588-61C720C0CBFD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21512" y="647308"/>
            <a:ext cx="1231427" cy="369332"/>
          </a:xfrm>
          <a:prstGeom prst="rect">
            <a:avLst/>
          </a:prstGeom>
          <a:gradFill flip="none" rotWithShape="1">
            <a:gsLst>
              <a:gs pos="0">
                <a:schemeClr val="dk1">
                  <a:lumMod val="67000"/>
                </a:schemeClr>
              </a:gs>
              <a:gs pos="48000">
                <a:schemeClr val="dk1">
                  <a:lumMod val="97000"/>
                  <a:lumOff val="3000"/>
                </a:schemeClr>
              </a:gs>
              <a:gs pos="100000">
                <a:schemeClr val="dk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. 12. 2021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1A897995-A06E-40E8-A552-6EE985458E1A}"/>
              </a:ext>
            </a:extLst>
          </p:cNvPr>
          <p:cNvSpPr txBox="1"/>
          <p:nvPr/>
        </p:nvSpPr>
        <p:spPr>
          <a:xfrm>
            <a:off x="3077692" y="5842996"/>
            <a:ext cx="42572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▲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4B027ACE-6FAB-434A-9D34-20AFEAFDDE19}"/>
              </a:ext>
            </a:extLst>
          </p:cNvPr>
          <p:cNvSpPr txBox="1"/>
          <p:nvPr/>
        </p:nvSpPr>
        <p:spPr>
          <a:xfrm>
            <a:off x="3290554" y="5861102"/>
            <a:ext cx="42572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▼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E82B42D4-E40E-4ED7-AF7E-22E986ED9DD5}"/>
              </a:ext>
            </a:extLst>
          </p:cNvPr>
          <p:cNvSpPr txBox="1"/>
          <p:nvPr/>
        </p:nvSpPr>
        <p:spPr>
          <a:xfrm>
            <a:off x="3085124" y="6178787"/>
            <a:ext cx="30322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onzistentní trend směrem k rizikovým hodnotám indikátoru (scénář II)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9BB08CE-A51A-49E7-B70E-AE6DB70183D6}"/>
              </a:ext>
            </a:extLst>
          </p:cNvPr>
          <p:cNvSpPr txBox="1"/>
          <p:nvPr/>
        </p:nvSpPr>
        <p:spPr>
          <a:xfrm>
            <a:off x="6485298" y="5869832"/>
            <a:ext cx="71711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!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&lt;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!! 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1A01E7C4-A7CE-4445-90B4-93DEFA59BB6E}"/>
              </a:ext>
            </a:extLst>
          </p:cNvPr>
          <p:cNvSpPr txBox="1"/>
          <p:nvPr/>
        </p:nvSpPr>
        <p:spPr>
          <a:xfrm>
            <a:off x="6423677" y="6284534"/>
            <a:ext cx="232743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izikovost hodnot (scénář II)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03DC762C-26E4-4A97-93EE-8011CAB0E26E}"/>
              </a:ext>
            </a:extLst>
          </p:cNvPr>
          <p:cNvSpPr txBox="1"/>
          <p:nvPr/>
        </p:nvSpPr>
        <p:spPr>
          <a:xfrm>
            <a:off x="-53410" y="5818597"/>
            <a:ext cx="371611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●</a:t>
            </a: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TextovéPole 26">
            <a:extLst>
              <a:ext uri="{FF2B5EF4-FFF2-40B4-BE49-F238E27FC236}">
                <a16:creationId xmlns:a16="http://schemas.microsoft.com/office/drawing/2014/main" id="{39867C17-1EB5-45DA-9DE1-003901236E59}"/>
              </a:ext>
            </a:extLst>
          </p:cNvPr>
          <p:cNvSpPr txBox="1"/>
          <p:nvPr/>
        </p:nvSpPr>
        <p:spPr>
          <a:xfrm>
            <a:off x="49953" y="5208753"/>
            <a:ext cx="324060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.s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: není specifikováno (není hodnoceno)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EBEBA949-A53A-4C82-BBBF-B64F0C92515A}"/>
              </a:ext>
            </a:extLst>
          </p:cNvPr>
          <p:cNvSpPr txBox="1"/>
          <p:nvPr/>
        </p:nvSpPr>
        <p:spPr>
          <a:xfrm>
            <a:off x="-40872" y="6167352"/>
            <a:ext cx="333349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odnota indikátoru mimo riziko, bez rizikového trendu (scénář I)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D1517A8F-71AD-4F8A-B597-6E4C7CF77FC3}"/>
              </a:ext>
            </a:extLst>
          </p:cNvPr>
          <p:cNvSpPr txBox="1"/>
          <p:nvPr/>
        </p:nvSpPr>
        <p:spPr>
          <a:xfrm>
            <a:off x="9341185" y="5869832"/>
            <a:ext cx="534997" cy="369332"/>
          </a:xfrm>
          <a:prstGeom prst="rect">
            <a:avLst/>
          </a:prstGeom>
          <a:solidFill>
            <a:srgbClr val="FF0000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!!! 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35199FCE-D8C3-4F85-88F0-66D401D4C862}"/>
              </a:ext>
            </a:extLst>
          </p:cNvPr>
          <p:cNvSpPr txBox="1"/>
          <p:nvPr/>
        </p:nvSpPr>
        <p:spPr>
          <a:xfrm>
            <a:off x="9279432" y="6289211"/>
            <a:ext cx="281552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ysoce riziková hodnota (scénář III)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5614657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/>
          <p:cNvSpPr/>
          <p:nvPr/>
        </p:nvSpPr>
        <p:spPr>
          <a:xfrm>
            <a:off x="152773" y="0"/>
            <a:ext cx="1188645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líčové ukazatele a rizikové faktory po posouzení vývoje epidemie</a:t>
            </a:r>
            <a:endParaRPr kumimoji="0" lang="cs-CZ" sz="3000" b="0" i="1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5" name="Tabulka 24">
            <a:extLst>
              <a:ext uri="{FF2B5EF4-FFF2-40B4-BE49-F238E27FC236}">
                <a16:creationId xmlns:a16="http://schemas.microsoft.com/office/drawing/2014/main" id="{9F1A6B3C-5D86-41F8-9A05-F9692C3D54A3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4201824" y="1082564"/>
          <a:ext cx="4007710" cy="4831258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719520">
                  <a:extLst>
                    <a:ext uri="{9D8B030D-6E8A-4147-A177-3AD203B41FA5}">
                      <a16:colId xmlns:a16="http://schemas.microsoft.com/office/drawing/2014/main" val="1039761853"/>
                    </a:ext>
                  </a:extLst>
                </a:gridCol>
                <a:gridCol w="704850">
                  <a:extLst>
                    <a:ext uri="{9D8B030D-6E8A-4147-A177-3AD203B41FA5}">
                      <a16:colId xmlns:a16="http://schemas.microsoft.com/office/drawing/2014/main" val="3581028306"/>
                    </a:ext>
                  </a:extLst>
                </a:gridCol>
                <a:gridCol w="583340">
                  <a:extLst>
                    <a:ext uri="{9D8B030D-6E8A-4147-A177-3AD203B41FA5}">
                      <a16:colId xmlns:a16="http://schemas.microsoft.com/office/drawing/2014/main" val="2172191408"/>
                    </a:ext>
                  </a:extLst>
                </a:gridCol>
              </a:tblGrid>
              <a:tr h="424542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2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POPULACE S DOKONČENÝM OČKOVÁNÍM</a:t>
                      </a:r>
                      <a:endParaRPr lang="cs-CZ" sz="12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 err="1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Hodnota</a:t>
                      </a:r>
                      <a:endParaRPr lang="cs-CZ" sz="11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rend</a:t>
                      </a:r>
                      <a:endParaRPr lang="cs-CZ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(Riziko)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1481214"/>
                  </a:ext>
                </a:extLst>
              </a:tr>
              <a:tr h="529179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případů po dokončeném očkování / 100tis. obyv. s dokončeným očkováním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10,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7558024"/>
                  </a:ext>
                </a:extLst>
              </a:tr>
              <a:tr h="391405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symptomatických případů / 100 tis. obyv. s dokončeným očkováním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0,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3973997"/>
                  </a:ext>
                </a:extLst>
              </a:tr>
              <a:tr h="391405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lativní pozitivita (</a:t>
                      </a:r>
                      <a:r>
                        <a:rPr lang="cs-CZ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g+Epi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 indikovaných test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,6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029391"/>
                  </a:ext>
                </a:extLst>
              </a:tr>
              <a:tr h="391405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případů 65+/ 100tis. obyv. 65+ s dokončeným očkováním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9,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6009103"/>
                  </a:ext>
                </a:extLst>
              </a:tr>
              <a:tr h="391405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lativní pozitivita indikovaných (</a:t>
                      </a:r>
                      <a:r>
                        <a:rPr lang="cs-CZ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g+Epi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 testů 65+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,4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8811140"/>
                  </a:ext>
                </a:extLst>
              </a:tr>
              <a:tr h="356064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nových příjmů do nemocnic / 100tis. obyv. s dokončeným očkováním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,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7462542"/>
                  </a:ext>
                </a:extLst>
              </a:tr>
              <a:tr h="529179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nových příjmů na JIP (včetně překladů) / 100tis. obyv. s dokončeným očkováním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8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7521848"/>
                  </a:ext>
                </a:extLst>
              </a:tr>
              <a:tr h="356064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spitalizovaní na JIP k danému dni / 100 tis. obyv. s dokončeným očkováním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7752783"/>
                  </a:ext>
                </a:extLst>
              </a:tr>
              <a:tr h="356064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čet pacientů na UPV/ECMO k danému dni / 100 tis. obyv. s dokončeným očkováním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18833963"/>
                  </a:ext>
                </a:extLst>
              </a:tr>
              <a:tr h="35606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klinicky a diagnosticky indikovaných PCR testů / 100tis. obyv. bez dokončeného očkován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89,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.s</a:t>
                      </a:r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.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19985309"/>
                  </a:ext>
                </a:extLst>
              </a:tr>
            </a:tbl>
          </a:graphicData>
        </a:graphic>
      </p:graphicFrame>
      <p:sp>
        <p:nvSpPr>
          <p:cNvPr id="26" name="TextovéPole 25">
            <a:extLst>
              <a:ext uri="{FF2B5EF4-FFF2-40B4-BE49-F238E27FC236}">
                <a16:creationId xmlns:a16="http://schemas.microsoft.com/office/drawing/2014/main" id="{915B2B79-3BEF-44FC-A588-61C720C0CBFD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21512" y="647308"/>
            <a:ext cx="1231427" cy="369332"/>
          </a:xfrm>
          <a:prstGeom prst="rect">
            <a:avLst/>
          </a:prstGeom>
          <a:gradFill flip="none" rotWithShape="1">
            <a:gsLst>
              <a:gs pos="0">
                <a:schemeClr val="dk1">
                  <a:lumMod val="67000"/>
                </a:schemeClr>
              </a:gs>
              <a:gs pos="48000">
                <a:schemeClr val="dk1">
                  <a:lumMod val="97000"/>
                  <a:lumOff val="3000"/>
                </a:schemeClr>
              </a:gs>
              <a:gs pos="100000">
                <a:schemeClr val="dk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. 12. 2021</a:t>
            </a:r>
          </a:p>
        </p:txBody>
      </p:sp>
      <p:graphicFrame>
        <p:nvGraphicFramePr>
          <p:cNvPr id="29" name="Tabulka 28">
            <a:extLst>
              <a:ext uri="{FF2B5EF4-FFF2-40B4-BE49-F238E27FC236}">
                <a16:creationId xmlns:a16="http://schemas.microsoft.com/office/drawing/2014/main" id="{963A3029-6770-4837-AFC6-FBE9FB189221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114130" y="1087466"/>
          <a:ext cx="4007710" cy="4831258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719520">
                  <a:extLst>
                    <a:ext uri="{9D8B030D-6E8A-4147-A177-3AD203B41FA5}">
                      <a16:colId xmlns:a16="http://schemas.microsoft.com/office/drawing/2014/main" val="1039761853"/>
                    </a:ext>
                  </a:extLst>
                </a:gridCol>
                <a:gridCol w="704850">
                  <a:extLst>
                    <a:ext uri="{9D8B030D-6E8A-4147-A177-3AD203B41FA5}">
                      <a16:colId xmlns:a16="http://schemas.microsoft.com/office/drawing/2014/main" val="3581028306"/>
                    </a:ext>
                  </a:extLst>
                </a:gridCol>
                <a:gridCol w="583340">
                  <a:extLst>
                    <a:ext uri="{9D8B030D-6E8A-4147-A177-3AD203B41FA5}">
                      <a16:colId xmlns:a16="http://schemas.microsoft.com/office/drawing/2014/main" val="2172191408"/>
                    </a:ext>
                  </a:extLst>
                </a:gridCol>
              </a:tblGrid>
              <a:tr h="424542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2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POPULACE NEOČKOVANÁ NEBO S NEDOKONČENÝM OČKOVÁNÍM</a:t>
                      </a:r>
                      <a:endParaRPr lang="cs-CZ" sz="12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 err="1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Hodnota</a:t>
                      </a:r>
                      <a:endParaRPr lang="cs-CZ" sz="11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rend</a:t>
                      </a:r>
                      <a:endParaRPr lang="cs-CZ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(Riziko)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1481214"/>
                  </a:ext>
                </a:extLst>
              </a:tr>
              <a:tr h="529179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případů 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ez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okončené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čkování / 100tis. obyv. 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ez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okončené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čkován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16,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7558024"/>
                  </a:ext>
                </a:extLst>
              </a:tr>
              <a:tr h="391405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symptomatických případů / 100 tis. obyv. 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ez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okončené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čkován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5,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3973997"/>
                  </a:ext>
                </a:extLst>
              </a:tr>
              <a:tr h="391405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lativní pozitivita (</a:t>
                      </a:r>
                      <a:r>
                        <a:rPr lang="cs-CZ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g+Epi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 indikovaných test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,2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029391"/>
                  </a:ext>
                </a:extLst>
              </a:tr>
              <a:tr h="391405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případů 65+/ 100tis. obyv. 65+ 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ez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okončené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čkován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55,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6009103"/>
                  </a:ext>
                </a:extLst>
              </a:tr>
              <a:tr h="391405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lativní pozitivita indikovaných (</a:t>
                      </a:r>
                      <a:r>
                        <a:rPr lang="cs-CZ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g+Epi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 testů 65+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,1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8811140"/>
                  </a:ext>
                </a:extLst>
              </a:tr>
              <a:tr h="356064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nových příjmů do nemocnic / 100tis. obyv. 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ez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okončené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čkován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2,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7462542"/>
                  </a:ext>
                </a:extLst>
              </a:tr>
              <a:tr h="529179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nových příjmů na JIP (včetně překladů) / 100tis. obyv. 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ez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okončené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čkován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,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7521848"/>
                  </a:ext>
                </a:extLst>
              </a:tr>
              <a:tr h="356064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spitalizovaní na JIP k danému dni / 100 tis. obyv. 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ez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okončené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čkován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,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7752783"/>
                  </a:ext>
                </a:extLst>
              </a:tr>
              <a:tr h="356064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čet pacientů na UPV/ECMO k danému dni / 100 tis. obyv. 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ez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okončené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čkován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,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20073058"/>
                  </a:ext>
                </a:extLst>
              </a:tr>
              <a:tr h="35606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klinicky a diagnosticky indikovaných PCR testů / 100tis. obyv. s dokončeným očkováním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186,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.s</a:t>
                      </a:r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.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5492037"/>
                  </a:ext>
                </a:extLst>
              </a:tr>
            </a:tbl>
          </a:graphicData>
        </a:graphic>
      </p:graphicFrame>
      <p:graphicFrame>
        <p:nvGraphicFramePr>
          <p:cNvPr id="22" name="Tabulka 21">
            <a:extLst>
              <a:ext uri="{FF2B5EF4-FFF2-40B4-BE49-F238E27FC236}">
                <a16:creationId xmlns:a16="http://schemas.microsoft.com/office/drawing/2014/main" id="{256C204E-ADA7-4ADE-A102-442FD6245E11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149790198"/>
              </p:ext>
            </p:extLst>
          </p:nvPr>
        </p:nvGraphicFramePr>
        <p:xfrm>
          <a:off x="8289518" y="1094515"/>
          <a:ext cx="3749708" cy="3574518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344615">
                  <a:extLst>
                    <a:ext uri="{9D8B030D-6E8A-4147-A177-3AD203B41FA5}">
                      <a16:colId xmlns:a16="http://schemas.microsoft.com/office/drawing/2014/main" val="1039761853"/>
                    </a:ext>
                  </a:extLst>
                </a:gridCol>
                <a:gridCol w="1405093">
                  <a:extLst>
                    <a:ext uri="{9D8B030D-6E8A-4147-A177-3AD203B41FA5}">
                      <a16:colId xmlns:a16="http://schemas.microsoft.com/office/drawing/2014/main" val="1107678429"/>
                    </a:ext>
                  </a:extLst>
                </a:gridCol>
              </a:tblGrid>
              <a:tr h="389320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100" u="sng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CELÁ POPULACE</a:t>
                      </a:r>
                      <a:r>
                        <a:rPr lang="cs-CZ" sz="11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 </a:t>
                      </a:r>
                    </a:p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1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OCHRANNÝ EFEKT (OE) OČKOVÁNÍ *</a:t>
                      </a:r>
                      <a:endParaRPr lang="cs-CZ" sz="11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proti neočkovaným*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1481214"/>
                  </a:ext>
                </a:extLst>
              </a:tr>
              <a:tr h="334080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E PROTI NÁKAZE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68,9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7558024"/>
                  </a:ext>
                </a:extLst>
              </a:tr>
              <a:tr h="360722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E PROTI HOSPITALIZACI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72,6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3973997"/>
                  </a:ext>
                </a:extLst>
              </a:tr>
              <a:tr h="336804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E PROTI LÉČBĚ NA JIP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75,1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029391"/>
                  </a:ext>
                </a:extLst>
              </a:tr>
              <a:tr h="358932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E PROTI LÉČBĚ NA UPV/ECMO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87,1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6009103"/>
                  </a:ext>
                </a:extLst>
              </a:tr>
              <a:tr h="358932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100" u="sng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POPULACE 65+</a:t>
                      </a:r>
                      <a:endParaRPr lang="cs-CZ" sz="11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</a:endParaRPr>
                    </a:p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1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OCHRANNÝ EFEKT (OE) OČKOVÁNÍ *</a:t>
                      </a:r>
                      <a:endParaRPr lang="cs-CZ" sz="11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proti neočkovaným*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2513746"/>
                  </a:ext>
                </a:extLst>
              </a:tr>
              <a:tr h="358932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E PROTI NÁKAZE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83,1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9978021"/>
                  </a:ext>
                </a:extLst>
              </a:tr>
              <a:tr h="358932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E PROTI HOSPITALIZACI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90,5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0541005"/>
                  </a:ext>
                </a:extLst>
              </a:tr>
              <a:tr h="358932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E PROTI LÉČBĚ NA JIP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89,8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3588268"/>
                  </a:ext>
                </a:extLst>
              </a:tr>
              <a:tr h="358932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E PROTI LÉČBĚ NA UPV/ECMO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94,0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3129300"/>
                  </a:ext>
                </a:extLst>
              </a:tr>
            </a:tbl>
          </a:graphicData>
        </a:graphic>
      </p:graphicFrame>
      <p:sp>
        <p:nvSpPr>
          <p:cNvPr id="23" name="TextovéPole 22">
            <a:extLst>
              <a:ext uri="{FF2B5EF4-FFF2-40B4-BE49-F238E27FC236}">
                <a16:creationId xmlns:a16="http://schemas.microsoft.com/office/drawing/2014/main" id="{96424B97-D860-4633-A02F-75BD15683942}"/>
              </a:ext>
            </a:extLst>
          </p:cNvPr>
          <p:cNvSpPr txBox="1"/>
          <p:nvPr/>
        </p:nvSpPr>
        <p:spPr>
          <a:xfrm>
            <a:off x="3144367" y="6020503"/>
            <a:ext cx="42572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▲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TextovéPole 23">
            <a:extLst>
              <a:ext uri="{FF2B5EF4-FFF2-40B4-BE49-F238E27FC236}">
                <a16:creationId xmlns:a16="http://schemas.microsoft.com/office/drawing/2014/main" id="{E80B8081-94BB-4423-81C0-D0F83BEBCD5D}"/>
              </a:ext>
            </a:extLst>
          </p:cNvPr>
          <p:cNvSpPr txBox="1"/>
          <p:nvPr/>
        </p:nvSpPr>
        <p:spPr>
          <a:xfrm>
            <a:off x="3357229" y="6038609"/>
            <a:ext cx="42572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▼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TextovéPole 29">
            <a:extLst>
              <a:ext uri="{FF2B5EF4-FFF2-40B4-BE49-F238E27FC236}">
                <a16:creationId xmlns:a16="http://schemas.microsoft.com/office/drawing/2014/main" id="{88216448-CF52-4CE8-AD3F-6590D1166279}"/>
              </a:ext>
            </a:extLst>
          </p:cNvPr>
          <p:cNvSpPr txBox="1"/>
          <p:nvPr/>
        </p:nvSpPr>
        <p:spPr>
          <a:xfrm>
            <a:off x="3151799" y="6320217"/>
            <a:ext cx="30322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onzistentní trend směrem k rizikovým hodnotám indikátoru (scénář II)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" name="TextovéPole 30">
            <a:extLst>
              <a:ext uri="{FF2B5EF4-FFF2-40B4-BE49-F238E27FC236}">
                <a16:creationId xmlns:a16="http://schemas.microsoft.com/office/drawing/2014/main" id="{963105EB-4C01-4594-A3F4-69A24C384C1B}"/>
              </a:ext>
            </a:extLst>
          </p:cNvPr>
          <p:cNvSpPr txBox="1"/>
          <p:nvPr/>
        </p:nvSpPr>
        <p:spPr>
          <a:xfrm>
            <a:off x="6551973" y="6047339"/>
            <a:ext cx="71711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!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&lt;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!! 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2" name="TextovéPole 31">
            <a:extLst>
              <a:ext uri="{FF2B5EF4-FFF2-40B4-BE49-F238E27FC236}">
                <a16:creationId xmlns:a16="http://schemas.microsoft.com/office/drawing/2014/main" id="{596435E0-ECE2-408A-A7D2-45948EC8DD07}"/>
              </a:ext>
            </a:extLst>
          </p:cNvPr>
          <p:cNvSpPr txBox="1"/>
          <p:nvPr/>
        </p:nvSpPr>
        <p:spPr>
          <a:xfrm>
            <a:off x="6490352" y="6397389"/>
            <a:ext cx="232743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izikovost hodnot (scénář II)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6A8F8A2D-C998-45E8-A477-0FE54924F4DB}"/>
              </a:ext>
            </a:extLst>
          </p:cNvPr>
          <p:cNvSpPr txBox="1"/>
          <p:nvPr/>
        </p:nvSpPr>
        <p:spPr>
          <a:xfrm>
            <a:off x="13265" y="5996104"/>
            <a:ext cx="371611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●</a:t>
            </a: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4" name="TextovéPole 33">
            <a:extLst>
              <a:ext uri="{FF2B5EF4-FFF2-40B4-BE49-F238E27FC236}">
                <a16:creationId xmlns:a16="http://schemas.microsoft.com/office/drawing/2014/main" id="{43ADE43F-080A-43CA-B30C-B11E6EA69940}"/>
              </a:ext>
            </a:extLst>
          </p:cNvPr>
          <p:cNvSpPr txBox="1"/>
          <p:nvPr/>
        </p:nvSpPr>
        <p:spPr>
          <a:xfrm>
            <a:off x="25803" y="6308782"/>
            <a:ext cx="333349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odnota indikátoru mimo riziko, bez rizikového trendu (scénář I)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" name="TextovéPole 34">
            <a:extLst>
              <a:ext uri="{FF2B5EF4-FFF2-40B4-BE49-F238E27FC236}">
                <a16:creationId xmlns:a16="http://schemas.microsoft.com/office/drawing/2014/main" id="{7AD9E94C-366A-428C-8246-1D6C4A93B413}"/>
              </a:ext>
            </a:extLst>
          </p:cNvPr>
          <p:cNvSpPr txBox="1"/>
          <p:nvPr/>
        </p:nvSpPr>
        <p:spPr>
          <a:xfrm>
            <a:off x="9407860" y="6047339"/>
            <a:ext cx="534997" cy="369332"/>
          </a:xfrm>
          <a:prstGeom prst="rect">
            <a:avLst/>
          </a:prstGeom>
          <a:solidFill>
            <a:srgbClr val="FF0000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!!! 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" name="TextovéPole 35">
            <a:extLst>
              <a:ext uri="{FF2B5EF4-FFF2-40B4-BE49-F238E27FC236}">
                <a16:creationId xmlns:a16="http://schemas.microsoft.com/office/drawing/2014/main" id="{5E75A587-2B96-4490-A547-155091FE77FA}"/>
              </a:ext>
            </a:extLst>
          </p:cNvPr>
          <p:cNvSpPr txBox="1"/>
          <p:nvPr/>
        </p:nvSpPr>
        <p:spPr>
          <a:xfrm>
            <a:off x="9346107" y="6402066"/>
            <a:ext cx="281552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ysoce riziková hodnota (scénář III)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7" name="TextovéPole 36">
            <a:extLst>
              <a:ext uri="{FF2B5EF4-FFF2-40B4-BE49-F238E27FC236}">
                <a16:creationId xmlns:a16="http://schemas.microsoft.com/office/drawing/2014/main" id="{8A13EED6-7BE9-4DD5-B41D-847758B5E561}"/>
              </a:ext>
            </a:extLst>
          </p:cNvPr>
          <p:cNvSpPr txBox="1"/>
          <p:nvPr/>
        </p:nvSpPr>
        <p:spPr>
          <a:xfrm>
            <a:off x="8296707" y="4711854"/>
            <a:ext cx="387211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 Kalkulováno ze 7denních kumulativních počtů případů onemocnění; vždy ve srovnání populace s dokončeným očkováním vs. populace neočkovaná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550972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/>
          <p:cNvSpPr/>
          <p:nvPr/>
        </p:nvSpPr>
        <p:spPr>
          <a:xfrm>
            <a:off x="152773" y="0"/>
            <a:ext cx="1188645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líčové ukazatele a rizikové faktory: </a:t>
            </a:r>
            <a:r>
              <a:rPr kumimoji="0" lang="cs-CZ" sz="30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raniční rizikové hodnoty </a:t>
            </a:r>
            <a:endParaRPr kumimoji="0" lang="cs-CZ" sz="3000" b="0" i="1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15" name="Tabulka 14">
            <a:extLst>
              <a:ext uri="{FF2B5EF4-FFF2-40B4-BE49-F238E27FC236}">
                <a16:creationId xmlns:a16="http://schemas.microsoft.com/office/drawing/2014/main" id="{363D1FB2-29AD-41A2-A944-285E36ABF2CE}"/>
              </a:ext>
            </a:extLst>
          </p:cNvPr>
          <p:cNvGraphicFramePr>
            <a:graphicFrameLocks noGrp="1"/>
          </p:cNvGraphicFramePr>
          <p:nvPr/>
        </p:nvGraphicFramePr>
        <p:xfrm>
          <a:off x="107354" y="1570311"/>
          <a:ext cx="3771899" cy="4021179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010695">
                  <a:extLst>
                    <a:ext uri="{9D8B030D-6E8A-4147-A177-3AD203B41FA5}">
                      <a16:colId xmlns:a16="http://schemas.microsoft.com/office/drawing/2014/main" val="1039761853"/>
                    </a:ext>
                  </a:extLst>
                </a:gridCol>
                <a:gridCol w="653143">
                  <a:extLst>
                    <a:ext uri="{9D8B030D-6E8A-4147-A177-3AD203B41FA5}">
                      <a16:colId xmlns:a16="http://schemas.microsoft.com/office/drawing/2014/main" val="3581028306"/>
                    </a:ext>
                  </a:extLst>
                </a:gridCol>
                <a:gridCol w="541175">
                  <a:extLst>
                    <a:ext uri="{9D8B030D-6E8A-4147-A177-3AD203B41FA5}">
                      <a16:colId xmlns:a16="http://schemas.microsoft.com/office/drawing/2014/main" val="52458354"/>
                    </a:ext>
                  </a:extLst>
                </a:gridCol>
                <a:gridCol w="566886">
                  <a:extLst>
                    <a:ext uri="{9D8B030D-6E8A-4147-A177-3AD203B41FA5}">
                      <a16:colId xmlns:a16="http://schemas.microsoft.com/office/drawing/2014/main" val="2172191408"/>
                    </a:ext>
                  </a:extLst>
                </a:gridCol>
              </a:tblGrid>
              <a:tr h="411117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200" dirty="0">
                          <a:solidFill>
                            <a:schemeClr val="tx1"/>
                          </a:solidFill>
                          <a:effectLst/>
                        </a:rPr>
                        <a:t>LOGISTIKA</a:t>
                      </a: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</a:rPr>
                        <a:t> &amp; MANAGEMENT</a:t>
                      </a:r>
                      <a:endParaRPr lang="cs-CZ" sz="1200" dirty="0">
                        <a:solidFill>
                          <a:schemeClr val="tx1"/>
                        </a:solidFill>
                        <a:effectLst/>
                      </a:endParaRPr>
                    </a:p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</a:rPr>
                        <a:t>EPIDEMIE</a:t>
                      </a:r>
                      <a:endParaRPr lang="cs-CZ" sz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2200" dirty="0">
                          <a:solidFill>
                            <a:srgbClr val="FF0000"/>
                          </a:solidFill>
                          <a:effectLst/>
                          <a:latin typeface="Arial Black" panose="020B0A040201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!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2200">
                          <a:solidFill>
                            <a:srgbClr val="FF0000"/>
                          </a:solidFill>
                          <a:effectLst/>
                          <a:latin typeface="Arial Black" panose="020B0A040201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!!</a:t>
                      </a:r>
                      <a:endParaRPr lang="cs-CZ" sz="22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2200" dirty="0">
                          <a:solidFill>
                            <a:srgbClr val="FF0000"/>
                          </a:solidFill>
                          <a:effectLst/>
                          <a:latin typeface="Arial Black" panose="020B0A040201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!!!</a:t>
                      </a:r>
                      <a:endParaRPr lang="cs-CZ" sz="22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1481214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iskriminační PCR </a:t>
                      </a:r>
                    </a:p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% z pozitivních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8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7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7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37227092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rasované případy (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8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7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7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7462542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rasování: vyřešené případy z pozitivních do 24h (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8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7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7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7521848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rasování:7denní průměrný počet hlášených kontakt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1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7752783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Ukončené základní očkování: </a:t>
                      </a: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populace 16+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8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7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7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97924369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Ukončené základní očkování:</a:t>
                      </a: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populace 65+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9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8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8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7050462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Ukončené základní očkování: </a:t>
                      </a:r>
                    </a:p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celá populace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.s</a:t>
                      </a:r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C000"/>
                        </a:solidFill>
                        <a:effectLst/>
                        <a:highlight>
                          <a:srgbClr val="FFFF00"/>
                        </a:highlight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Posilující dávka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.s</a:t>
                      </a:r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100" b="0" i="0" u="none" strike="noStrike" dirty="0">
                        <a:solidFill>
                          <a:srgbClr val="00B050"/>
                        </a:solidFill>
                        <a:effectLst/>
                        <a:highlight>
                          <a:srgbClr val="FFFF00"/>
                        </a:highlight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90853850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PCR testů / 100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.s</a:t>
                      </a:r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21337719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klinicky a diagnosticky indikovaných PCR testů / 100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.s</a:t>
                      </a:r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1" i="0" u="none" strike="noStrike" dirty="0">
                        <a:solidFill>
                          <a:srgbClr val="FFC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98844813"/>
                  </a:ext>
                </a:extLst>
              </a:tr>
            </a:tbl>
          </a:graphicData>
        </a:graphic>
      </p:graphicFrame>
      <p:graphicFrame>
        <p:nvGraphicFramePr>
          <p:cNvPr id="16" name="Tabulka 15">
            <a:extLst>
              <a:ext uri="{FF2B5EF4-FFF2-40B4-BE49-F238E27FC236}">
                <a16:creationId xmlns:a16="http://schemas.microsoft.com/office/drawing/2014/main" id="{68F18E96-B98E-4A20-8F79-E9B9D681C7E5}"/>
              </a:ext>
            </a:extLst>
          </p:cNvPr>
          <p:cNvGraphicFramePr>
            <a:graphicFrameLocks noGrp="1"/>
          </p:cNvGraphicFramePr>
          <p:nvPr/>
        </p:nvGraphicFramePr>
        <p:xfrm>
          <a:off x="4067174" y="1570309"/>
          <a:ext cx="3886200" cy="300140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262054">
                  <a:extLst>
                    <a:ext uri="{9D8B030D-6E8A-4147-A177-3AD203B41FA5}">
                      <a16:colId xmlns:a16="http://schemas.microsoft.com/office/drawing/2014/main" val="1039761853"/>
                    </a:ext>
                  </a:extLst>
                </a:gridCol>
                <a:gridCol w="523875">
                  <a:extLst>
                    <a:ext uri="{9D8B030D-6E8A-4147-A177-3AD203B41FA5}">
                      <a16:colId xmlns:a16="http://schemas.microsoft.com/office/drawing/2014/main" val="3581028306"/>
                    </a:ext>
                  </a:extLst>
                </a:gridCol>
                <a:gridCol w="549172">
                  <a:extLst>
                    <a:ext uri="{9D8B030D-6E8A-4147-A177-3AD203B41FA5}">
                      <a16:colId xmlns:a16="http://schemas.microsoft.com/office/drawing/2014/main" val="4105667536"/>
                    </a:ext>
                  </a:extLst>
                </a:gridCol>
                <a:gridCol w="551099">
                  <a:extLst>
                    <a:ext uri="{9D8B030D-6E8A-4147-A177-3AD203B41FA5}">
                      <a16:colId xmlns:a16="http://schemas.microsoft.com/office/drawing/2014/main" val="828973669"/>
                    </a:ext>
                  </a:extLst>
                </a:gridCol>
              </a:tblGrid>
              <a:tr h="484734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</a:rPr>
                        <a:t>POPULA</a:t>
                      </a:r>
                      <a:r>
                        <a:rPr lang="cs-CZ" sz="1200" dirty="0">
                          <a:solidFill>
                            <a:schemeClr val="tx1"/>
                          </a:solidFill>
                          <a:effectLst/>
                        </a:rPr>
                        <a:t>ČNÍ UKAZATELE*</a:t>
                      </a:r>
                      <a:endParaRPr lang="cs-CZ" sz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2200" dirty="0">
                          <a:solidFill>
                            <a:srgbClr val="FF0000"/>
                          </a:solidFill>
                          <a:effectLst/>
                          <a:latin typeface="Arial Black" panose="020B0A040201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!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2200" dirty="0">
                          <a:solidFill>
                            <a:srgbClr val="FF0000"/>
                          </a:solidFill>
                          <a:effectLst/>
                          <a:latin typeface="Arial Black" panose="020B0A040201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!!</a:t>
                      </a:r>
                      <a:endParaRPr lang="cs-CZ" sz="22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2200" dirty="0">
                          <a:solidFill>
                            <a:srgbClr val="FF0000"/>
                          </a:solidFill>
                          <a:effectLst/>
                          <a:latin typeface="Arial Black" panose="020B0A040201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!!!</a:t>
                      </a:r>
                      <a:endParaRPr lang="en-US" dirty="0"/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1481214"/>
                  </a:ext>
                </a:extLst>
              </a:tr>
              <a:tr h="446898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8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případů/ 100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1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200</a:t>
                      </a:r>
                      <a:endParaRPr lang="en-US" sz="1100" dirty="0"/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9944530"/>
                  </a:ext>
                </a:extLst>
              </a:tr>
              <a:tr h="446898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8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symptomatických případů / 100 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100</a:t>
                      </a:r>
                      <a:endParaRPr lang="en-US" sz="1100" dirty="0"/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5090560"/>
                  </a:ext>
                </a:extLst>
              </a:tr>
              <a:tr h="403229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8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hodnota R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1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1.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1.5</a:t>
                      </a:r>
                      <a:endParaRPr lang="en-US" sz="1100" dirty="0"/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37227092"/>
                  </a:ext>
                </a:extLst>
              </a:tr>
              <a:tr h="406547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8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relativní pozitivita (</a:t>
                      </a:r>
                      <a:r>
                        <a:rPr lang="cs-CZ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g+Epi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 indikovaných test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7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10%</a:t>
                      </a:r>
                      <a:endParaRPr lang="en-US" sz="1100" dirty="0"/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7462542"/>
                  </a:ext>
                </a:extLst>
              </a:tr>
              <a:tr h="406547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8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případů 65+/ 100tis. obyv. 65+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100</a:t>
                      </a:r>
                      <a:endParaRPr lang="en-US" sz="1100" dirty="0"/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7521848"/>
                  </a:ext>
                </a:extLst>
              </a:tr>
              <a:tr h="406547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8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lativní pozitivita indikovaných (</a:t>
                      </a:r>
                      <a:r>
                        <a:rPr lang="cs-CZ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g+Epi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 testů 65+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7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1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7752783"/>
                  </a:ext>
                </a:extLst>
              </a:tr>
            </a:tbl>
          </a:graphicData>
        </a:graphic>
      </p:graphicFrame>
      <p:graphicFrame>
        <p:nvGraphicFramePr>
          <p:cNvPr id="17" name="Tabulka 16">
            <a:extLst>
              <a:ext uri="{FF2B5EF4-FFF2-40B4-BE49-F238E27FC236}">
                <a16:creationId xmlns:a16="http://schemas.microsoft.com/office/drawing/2014/main" id="{6745305C-602B-437F-BBCD-88C47A4E80E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8175960" y="1570311"/>
          <a:ext cx="3884955" cy="300140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176153">
                  <a:extLst>
                    <a:ext uri="{9D8B030D-6E8A-4147-A177-3AD203B41FA5}">
                      <a16:colId xmlns:a16="http://schemas.microsoft.com/office/drawing/2014/main" val="1039761853"/>
                    </a:ext>
                  </a:extLst>
                </a:gridCol>
                <a:gridCol w="605147">
                  <a:extLst>
                    <a:ext uri="{9D8B030D-6E8A-4147-A177-3AD203B41FA5}">
                      <a16:colId xmlns:a16="http://schemas.microsoft.com/office/drawing/2014/main" val="3581028306"/>
                    </a:ext>
                  </a:extLst>
                </a:gridCol>
                <a:gridCol w="561975">
                  <a:extLst>
                    <a:ext uri="{9D8B030D-6E8A-4147-A177-3AD203B41FA5}">
                      <a16:colId xmlns:a16="http://schemas.microsoft.com/office/drawing/2014/main" val="2593690651"/>
                    </a:ext>
                  </a:extLst>
                </a:gridCol>
                <a:gridCol w="541680">
                  <a:extLst>
                    <a:ext uri="{9D8B030D-6E8A-4147-A177-3AD203B41FA5}">
                      <a16:colId xmlns:a16="http://schemas.microsoft.com/office/drawing/2014/main" val="2874801908"/>
                    </a:ext>
                  </a:extLst>
                </a:gridCol>
              </a:tblGrid>
              <a:tr h="449932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200" dirty="0">
                          <a:solidFill>
                            <a:schemeClr val="tx1"/>
                          </a:solidFill>
                          <a:effectLst/>
                        </a:rPr>
                        <a:t>ZDRAVOTNÍ DOPAD COVID-19*</a:t>
                      </a:r>
                      <a:endParaRPr lang="cs-CZ" sz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2200" dirty="0">
                          <a:solidFill>
                            <a:srgbClr val="FF0000"/>
                          </a:solidFill>
                          <a:effectLst/>
                          <a:latin typeface="Arial Black" panose="020B0A040201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!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2200">
                          <a:solidFill>
                            <a:srgbClr val="FF0000"/>
                          </a:solidFill>
                          <a:effectLst/>
                          <a:latin typeface="Arial Black" panose="020B0A040201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!!</a:t>
                      </a:r>
                      <a:endParaRPr lang="cs-CZ" sz="2200" dirty="0">
                        <a:solidFill>
                          <a:srgbClr val="FF0000"/>
                        </a:solidFill>
                        <a:effectLst/>
                        <a:latin typeface="Arial Black" panose="020B0A040201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2200" dirty="0">
                          <a:solidFill>
                            <a:srgbClr val="FF0000"/>
                          </a:solidFill>
                          <a:effectLst/>
                          <a:latin typeface="Arial Black" panose="020B0A040201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!!!</a:t>
                      </a:r>
                      <a:endParaRPr lang="en-US" dirty="0"/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1481214"/>
                  </a:ext>
                </a:extLst>
              </a:tr>
              <a:tr h="367570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nových příjmů do nemocnic / 100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1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3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5,0</a:t>
                      </a:r>
                      <a:endParaRPr lang="en-US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9944530"/>
                  </a:ext>
                </a:extLst>
              </a:tr>
              <a:tr h="440738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nových příjmů na JIP (včetně překladů) / 100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1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2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3,5</a:t>
                      </a:r>
                      <a:endParaRPr lang="en-US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81261566"/>
                  </a:ext>
                </a:extLst>
              </a:tr>
              <a:tr h="326572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ostupná funkční kapacita JIP (% celkové kapacity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&lt; 40%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&lt; 30%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&lt;</a:t>
                      </a:r>
                      <a:r>
                        <a:rPr lang="cs-CZ" sz="11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20%</a:t>
                      </a:r>
                      <a:endParaRPr lang="en-US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5628004"/>
                  </a:ext>
                </a:extLst>
              </a:tr>
              <a:tr h="324372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spitalizovaní celkem k danému dni / 100 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25</a:t>
                      </a:r>
                      <a:endParaRPr lang="en-US" sz="1100" dirty="0"/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4001286"/>
                  </a:ext>
                </a:extLst>
              </a:tr>
              <a:tr h="331652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spitalizovaní na JIP k danému dni / 100 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1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2,5</a:t>
                      </a:r>
                      <a:endParaRPr lang="en-US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4,0</a:t>
                      </a:r>
                      <a:endParaRPr lang="en-US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37227092"/>
                  </a:ext>
                </a:extLst>
              </a:tr>
              <a:tr h="295698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čet pacientů na UPV/ECMO k danému dni / 100 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0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1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1,5</a:t>
                      </a:r>
                      <a:endParaRPr lang="en-US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7462542"/>
                  </a:ext>
                </a:extLst>
              </a:tr>
              <a:tr h="363940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bložnost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JIP pacienty s COVID-19 v % aktuální celkové 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</a:t>
                      </a:r>
                      <a:r>
                        <a:rPr lang="cs-CZ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pacity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</a:t>
                      </a:r>
                      <a:r>
                        <a:rPr lang="cs-CZ" sz="11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%</a:t>
                      </a:r>
                      <a:endParaRPr lang="en-US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15% </a:t>
                      </a:r>
                      <a:endParaRPr lang="en-US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7521848"/>
                  </a:ext>
                </a:extLst>
              </a:tr>
            </a:tbl>
          </a:graphicData>
        </a:graphic>
      </p:graphicFrame>
      <p:sp>
        <p:nvSpPr>
          <p:cNvPr id="22" name="TextovéPole 21">
            <a:extLst>
              <a:ext uri="{FF2B5EF4-FFF2-40B4-BE49-F238E27FC236}">
                <a16:creationId xmlns:a16="http://schemas.microsoft.com/office/drawing/2014/main" id="{2DB09875-B016-49E4-BC18-2DC626B60AB6}"/>
              </a:ext>
            </a:extLst>
          </p:cNvPr>
          <p:cNvSpPr txBox="1"/>
          <p:nvPr/>
        </p:nvSpPr>
        <p:spPr>
          <a:xfrm flipH="1">
            <a:off x="207821" y="989225"/>
            <a:ext cx="11782055" cy="3754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 Black" panose="020B0A040201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!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Arial" panose="020B0604020202020204" pitchFamily="34" charset="0"/>
              </a:rPr>
              <a:t>Vykřičníky označují tři hranice rizika, odpovídající rizikovým scénářům vývoj I &lt; II &lt; III. Některé ukazatele mají pouze dvě rizikové hladiny hodnot, některé žádnou. 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48D8BBF1-D0B5-4D10-AF3E-876A6FC2CF3F}"/>
              </a:ext>
            </a:extLst>
          </p:cNvPr>
          <p:cNvSpPr txBox="1"/>
          <p:nvPr/>
        </p:nvSpPr>
        <p:spPr>
          <a:xfrm>
            <a:off x="76200" y="5741127"/>
            <a:ext cx="324060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.s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: není specifikováno (není hodnoceno)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98846608-7229-4ED5-A2FC-9D0F2682C675}"/>
              </a:ext>
            </a:extLst>
          </p:cNvPr>
          <p:cNvSpPr txBox="1"/>
          <p:nvPr/>
        </p:nvSpPr>
        <p:spPr>
          <a:xfrm>
            <a:off x="4635201" y="5245926"/>
            <a:ext cx="644237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 Stejné hranice jsou aplikovány při hodnocení situace odděleně v populaci neočkovaných osob, osob s nedokončeným očkováním a v populaci osob s dokončeným očkováním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4083070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143346" y="3828910"/>
            <a:ext cx="11905307" cy="2236911"/>
          </a:xfrm>
        </p:spPr>
        <p:txBody>
          <a:bodyPr>
            <a:normAutofit/>
          </a:bodyPr>
          <a:lstStyle/>
          <a:p>
            <a:r>
              <a:rPr lang="cs-CZ" sz="5200" b="1" dirty="0"/>
              <a:t>Dlouhodobější modely vývoje epidemie </a:t>
            </a:r>
          </a:p>
          <a:p>
            <a:r>
              <a:rPr lang="cs-CZ" sz="5200" b="1" dirty="0"/>
              <a:t>a jejich krátkodobé projekce </a:t>
            </a:r>
            <a:endParaRPr lang="cs-CZ" sz="4200" i="1" dirty="0"/>
          </a:p>
        </p:txBody>
      </p:sp>
    </p:spTree>
    <p:extLst>
      <p:ext uri="{BB962C8B-B14F-4D97-AF65-F5344CB8AC3E}">
        <p14:creationId xmlns:p14="http://schemas.microsoft.com/office/powerpoint/2010/main" val="20719739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Fals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2"/>
  <p:tag name="SLIDEFAB_EXPORTMOD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  <p:tag name="SLIDEFAB_SHAPECONDITIONMETACTIONDELETE" val="Fals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  <p:tag name="SLIDEFAB_SHAPECONDITIONMETACTIONDELETE" val="Fals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  <p:tag name="SLIDEFAB_SHAPECONDITIONMETACTIONDELETE" val="Fals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  <p:tag name="SLIDEFAB_SHAPECONDITIONMETACTIONDELETE" val="Fals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Motiv systému Office">
  <a:themeElements>
    <a:clrScheme name="Vlastní 2">
      <a:dk1>
        <a:srgbClr val="5F5F5F"/>
      </a:dk1>
      <a:lt1>
        <a:sysClr val="window" lastClr="FFFFFF"/>
      </a:lt1>
      <a:dk2>
        <a:srgbClr val="84848E"/>
      </a:dk2>
      <a:lt2>
        <a:srgbClr val="F2F2F2"/>
      </a:lt2>
      <a:accent1>
        <a:srgbClr val="E7B13D"/>
      </a:accent1>
      <a:accent2>
        <a:srgbClr val="3D67BC"/>
      </a:accent2>
      <a:accent3>
        <a:srgbClr val="274073"/>
      </a:accent3>
      <a:accent4>
        <a:srgbClr val="84848E"/>
      </a:accent4>
      <a:accent5>
        <a:srgbClr val="D8D8D8"/>
      </a:accent5>
      <a:accent6>
        <a:srgbClr val="DDDCE0"/>
      </a:accent6>
      <a:hlink>
        <a:srgbClr val="1919FF"/>
      </a:hlink>
      <a:folHlink>
        <a:srgbClr val="00005F"/>
      </a:folHlink>
    </a:clrScheme>
    <a:fontScheme name="Paliativní péče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7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4.xml><?xml version="1.0" encoding="utf-8"?>
<a:theme xmlns:a="http://schemas.openxmlformats.org/drawingml/2006/main" name="3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1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20634</TotalTime>
  <Words>5710</Words>
  <Application>Microsoft Office PowerPoint</Application>
  <PresentationFormat>Širokoúhlá obrazovka</PresentationFormat>
  <Paragraphs>691</Paragraphs>
  <Slides>26</Slides>
  <Notes>4</Notes>
  <HiddenSlides>0</HiddenSlides>
  <MMClips>0</MMClips>
  <ScaleCrop>false</ScaleCrop>
  <HeadingPairs>
    <vt:vector size="6" baseType="variant">
      <vt:variant>
        <vt:lpstr>Použitá písma</vt:lpstr>
      </vt:variant>
      <vt:variant>
        <vt:i4>6</vt:i4>
      </vt:variant>
      <vt:variant>
        <vt:lpstr>Motiv</vt:lpstr>
      </vt:variant>
      <vt:variant>
        <vt:i4>5</vt:i4>
      </vt:variant>
      <vt:variant>
        <vt:lpstr>Nadpisy snímků</vt:lpstr>
      </vt:variant>
      <vt:variant>
        <vt:i4>26</vt:i4>
      </vt:variant>
    </vt:vector>
  </HeadingPairs>
  <TitlesOfParts>
    <vt:vector size="37" baseType="lpstr">
      <vt:lpstr>Arial</vt:lpstr>
      <vt:lpstr>Arial Black</vt:lpstr>
      <vt:lpstr>Calibri</vt:lpstr>
      <vt:lpstr>Calibri Light</vt:lpstr>
      <vt:lpstr>Times New Roman</vt:lpstr>
      <vt:lpstr>Wingdings</vt:lpstr>
      <vt:lpstr>Motiv Office</vt:lpstr>
      <vt:lpstr>1_Motiv systému Office</vt:lpstr>
      <vt:lpstr>7_Motiv Office</vt:lpstr>
      <vt:lpstr>3_Motiv Office</vt:lpstr>
      <vt:lpstr>1_Motiv Office</vt:lpstr>
      <vt:lpstr>Datová a informační základna  pro management pandemie COVID-19</vt:lpstr>
      <vt:lpstr>Datová a informační základna  pro management pandemie COVID-19</vt:lpstr>
      <vt:lpstr>Prezentace aplikace PowerPoint</vt:lpstr>
      <vt:lpstr>Prezentace aplikace PowerPoint</vt:lpstr>
      <vt:lpstr>Zátěž regionů ve vzájemném srovnání krajů k 8. 12.</vt:lpstr>
      <vt:lpstr>Prezentace aplikace PowerPoint</vt:lpstr>
      <vt:lpstr>Prezentace aplikace PowerPoint</vt:lpstr>
      <vt:lpstr>Prezentace aplikace PowerPoint</vt:lpstr>
      <vt:lpstr>Datová a informační základna  pro management pandemie COVID-19</vt:lpstr>
      <vt:lpstr>Prezentace aplikace PowerPoint</vt:lpstr>
      <vt:lpstr>Prezentace aplikace PowerPoint</vt:lpstr>
      <vt:lpstr>Scénáře pro dlouhodobé simulace zahrnující efekt vakcinace </vt:lpstr>
      <vt:lpstr>Prezentace aplikace PowerPoint</vt:lpstr>
      <vt:lpstr>Projekce krátkodobých modelů SIR  pro vývoj epidemie v prosinci</vt:lpstr>
      <vt:lpstr>Krátkodobá projekce modelů SIR dle hodnoty efektivního reprodukčního čísla</vt:lpstr>
      <vt:lpstr>7denní hodnoty na 100 tisíc obyvatel: krátkodobá projekce vývoje </vt:lpstr>
      <vt:lpstr>Datová a informační základna  pro management pandemie COVID-19</vt:lpstr>
      <vt:lpstr>Prezentace aplikace PowerPoint</vt:lpstr>
      <vt:lpstr>Prezentace aplikace PowerPoint</vt:lpstr>
      <vt:lpstr>Prezentace aplikace PowerPoint</vt:lpstr>
      <vt:lpstr>Predikovaný počet nových hospitalizačních případů (denní příjmy do nemocnic)</vt:lpstr>
      <vt:lpstr>Predikovaný celkový počet aktuálně hospitalizovaných</vt:lpstr>
      <vt:lpstr>Predikovaný počet aktuálně hospitalizovaných na JIP</vt:lpstr>
      <vt:lpstr>Predikovaný počet zemřelých</vt:lpstr>
      <vt:lpstr>Predikce celkového počtu hospitalizací – aktuální počet léčených </vt:lpstr>
      <vt:lpstr>Predikce počtu pacientů na JIP – aktuální počet případů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Martin Komenda</dc:creator>
  <cp:lastModifiedBy>Dušek Ladislav prof. RNDr. Ph.D.</cp:lastModifiedBy>
  <cp:revision>2394</cp:revision>
  <dcterms:created xsi:type="dcterms:W3CDTF">2020-03-16T10:06:11Z</dcterms:created>
  <dcterms:modified xsi:type="dcterms:W3CDTF">2021-12-08T20:29:01Z</dcterms:modified>
</cp:coreProperties>
</file>